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sldIdLst>
    <p:sldId id="2147475644" r:id="rId5"/>
    <p:sldId id="2147471537" r:id="rId6"/>
    <p:sldId id="2147475649" r:id="rId7"/>
    <p:sldId id="2147475675" r:id="rId8"/>
    <p:sldId id="2147475647" r:id="rId9"/>
    <p:sldId id="2147475650" r:id="rId10"/>
    <p:sldId id="2147475669" r:id="rId11"/>
    <p:sldId id="2147475653" r:id="rId12"/>
    <p:sldId id="2147475670" r:id="rId13"/>
    <p:sldId id="2147475655" r:id="rId14"/>
    <p:sldId id="2147475657" r:id="rId15"/>
    <p:sldId id="2147475673" r:id="rId16"/>
    <p:sldId id="2147475672" r:id="rId17"/>
    <p:sldId id="2147475665" r:id="rId18"/>
    <p:sldId id="2147475661" r:id="rId19"/>
    <p:sldId id="2147475662" r:id="rId20"/>
    <p:sldId id="2147475664" r:id="rId21"/>
    <p:sldId id="305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D5FA613-5BB1-9DAA-8663-61C7E54F23DE}" name="Frode Singstad (NO)" initials="FS" userId="S::frode.singstad@pwc.com::6e7333a6-999f-49b0-9714-e1a4f457baf0" providerId="AD"/>
  <p188:author id="{FEC33033-3F32-DF1A-6953-006A0ED0A3D6}" name="Kirsti Relling (NO)" initials="KR" userId="S::kirsti.relling@pwc.com::780b3b5b-540b-49a0-873b-f14864b7378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D87E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C43568-C099-1272-2A68-9BB1BB55422B}" v="9" dt="2025-10-22T17:41:53.614"/>
    <p1510:client id="{1A32A70F-9399-6841-BAC6-94FBA84D2436}" v="36" dt="2025-10-22T12:49:03.391"/>
    <p1510:client id="{432430D3-8B16-7B1C-D7AD-0F35B89EE76B}" v="6" dt="2025-10-22T10:51:57.920"/>
    <p1510:client id="{46661E0C-1B95-40C6-B60E-F35416AC14D5}" v="3128" dt="2025-10-23T08:06:31.087"/>
    <p1510:client id="{585B98E4-AFD8-496E-8FF1-DE2EAF132870}" v="500" dt="2025-10-22T03:48:52.138"/>
    <p1510:client id="{64EC7E78-BC0B-B63E-9F3B-2ECBF9089D35}" v="21" dt="2025-10-23T07:36:24.326"/>
  </p1510:revLst>
</p1510:revInfo>
</file>

<file path=ppt/tableStyles.xml><?xml version="1.0" encoding="utf-8"?>
<a:tblStyleLst xmlns:a="http://schemas.openxmlformats.org/drawingml/2006/main" def="{605943CB-6F42-4776-B506-94E284F2829C}">
  <a:tblStyle styleId="{605943CB-6F42-4776-B506-94E284F2829C}" styleName="Brand Tab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tx1"/>
      </a:tcTxStyle>
      <a:tcStyle>
        <a:tcBdr/>
      </a:tcStyle>
    </a:lastCol>
    <a:firstCol>
      <a:tcTxStyle b="on">
        <a:fontRef idx="minor">
          <a:scrgbClr r="0" g="0" b="0"/>
        </a:fontRef>
        <a:schemeClr val="tx1"/>
      </a:tcTxStyle>
      <a:tcStyle>
        <a:tcBdr/>
      </a:tcStyle>
    </a:firstCol>
    <a:lastRow>
      <a:tcTxStyle b="on">
        <a:fontRef idx="minor">
          <a:scrgbClr r="0" g="0" b="0"/>
        </a:fontRef>
        <a:schemeClr val="tx1"/>
      </a:tcTxStyle>
      <a:tcStyle>
        <a:tcBdr/>
        <a:fill>
          <a:solidFill>
            <a:schemeClr val="bg1">
              <a:lumMod val="95000"/>
            </a:schemeClr>
          </a:solidFill>
        </a:fill>
      </a:tcStyle>
    </a:lastRow>
    <a:firstRow>
      <a:tcTxStyle b="on">
        <a:fontRef idx="minor">
          <a:scrgbClr r="0" g="0" b="0"/>
        </a:fontRef>
        <a:schemeClr val="accent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E8A128-FD69-4F98-BC96-439F510B2832}" styleName="Brand Tabl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tx1"/>
      </a:tcTxStyle>
      <a:tcStyle>
        <a:tcBdr/>
      </a:tcStyle>
    </a:lastCol>
    <a:firstCol>
      <a:tcTxStyle b="on">
        <a:fontRef idx="minor">
          <a:scrgbClr r="0" g="0" b="0"/>
        </a:fontRef>
        <a:schemeClr val="tx1"/>
      </a:tcTxStyle>
      <a:tcStyle>
        <a:tcBdr/>
      </a:tcStyle>
    </a:firstCol>
    <a:lastRow>
      <a:tcTxStyle b="on">
        <a:fontRef idx="minor">
          <a:scrgbClr r="0" g="0" b="0"/>
        </a:fontRef>
        <a:schemeClr val="tx1"/>
      </a:tcTxStyle>
      <a:tcStyle>
        <a:tcBdr/>
        <a:fill>
          <a:solidFill>
            <a:schemeClr val="bg1">
              <a:lumMod val="95000"/>
            </a:schemeClr>
          </a:solidFill>
        </a:fill>
      </a:tcStyle>
    </a:lastRow>
    <a:firstRow>
      <a:tcTxStyle b="on">
        <a:fontRef idx="minor">
          <a:scrgbClr r="109" g="36" b="122"/>
        </a:fontRef>
        <a:schemeClr val="tx1"/>
      </a:tcTxStyle>
      <a:tcStyle>
        <a:tcBdr>
          <a:bottom>
            <a:ln w="1905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56CA0EE-1E45-4AA6-A82B-0F5650326712}" styleName="Brand Tabl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bg1">
              <a:lumMod val="95000"/>
            </a:schemeClr>
          </a:solidFill>
        </a:fill>
      </a:tcStyle>
    </a:band2H>
    <a:band2V>
      <a:tcStyle>
        <a:tcBdr/>
        <a:fill>
          <a:solidFill>
            <a:schemeClr val="bg1">
              <a:lumMod val="95000"/>
            </a:schemeClr>
          </a:solidFill>
        </a:fill>
      </a:tcStyle>
    </a:band2V>
    <a:lastCol>
      <a:tcTxStyle b="on">
        <a:fontRef idx="minor">
          <a:scrgbClr r="0" g="0" b="0"/>
        </a:fontRef>
        <a:schemeClr val="tx1"/>
      </a:tcTxStyle>
      <a:tcStyle>
        <a:tcBdr/>
      </a:tcStyle>
    </a:lastCol>
    <a:firstCol>
      <a:tcTxStyle b="on">
        <a:fontRef idx="minor">
          <a:scrgbClr r="0" g="0" b="0"/>
        </a:fontRef>
        <a:schemeClr val="tx1"/>
      </a:tcTxStyle>
      <a:tcStyle>
        <a:tcBdr/>
      </a:tcStyle>
    </a:firstCol>
    <a:lastRow>
      <a:tcTxStyle b="on">
        <a:fontRef idx="minor">
          <a:scrgbClr r="0" g="0" b="0"/>
        </a:fontRef>
        <a:schemeClr val="tx1"/>
      </a:tcTxStyle>
      <a:tcStyle>
        <a:tcBdr/>
        <a:fill>
          <a:solidFill>
            <a:schemeClr val="bg1">
              <a:lumMod val="95000"/>
            </a:schemeClr>
          </a:solidFill>
        </a:fill>
      </a:tcStyle>
    </a:lastRow>
    <a:firstRow>
      <a:tcTxStyle b="on">
        <a:fontRef idx="minor">
          <a:scrgbClr r="0" g="0" b="0"/>
        </a:fontRef>
        <a:schemeClr val="accent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solidFill>
            <a:schemeClr val="bg1">
              <a:lumMod val="95000"/>
            </a:schemeClr>
          </a:solidFill>
        </a:fill>
      </a:tcStyle>
    </a:firstRow>
  </a:tblStyle>
  <a:tblStyle styleId="{B2FE71AF-C406-42DD-AC2B-C6103619A3FC}" styleName="Brand Tabl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bg1">
              <a:lumMod val="95000"/>
            </a:schemeClr>
          </a:solidFill>
        </a:fill>
      </a:tcStyle>
    </a:band2H>
    <a:band2V>
      <a:tcStyle>
        <a:tcBdr/>
        <a:fill>
          <a:solidFill>
            <a:schemeClr val="bg1">
              <a:lumMod val="95000"/>
            </a:schemeClr>
          </a:solidFill>
        </a:fill>
      </a:tcStyle>
    </a:band2V>
    <a:lastCol>
      <a:tcTxStyle b="on">
        <a:fontRef idx="minor">
          <a:scrgbClr r="0" g="0" b="0"/>
        </a:fontRef>
        <a:schemeClr val="tx1"/>
      </a:tcTxStyle>
      <a:tcStyle>
        <a:tcBdr/>
      </a:tcStyle>
    </a:lastCol>
    <a:firstCol>
      <a:tcTxStyle b="on">
        <a:fontRef idx="minor">
          <a:scrgbClr r="0" g="0" b="0"/>
        </a:fontRef>
        <a:schemeClr val="tx1"/>
      </a:tcTxStyle>
      <a:tcStyle>
        <a:tcBdr/>
      </a:tcStyle>
    </a:firstCol>
    <a:lastRow>
      <a:tcTxStyle b="on">
        <a:fontRef idx="minor">
          <a:scrgbClr r="0" g="0" b="0"/>
        </a:fontRef>
        <a:schemeClr val="tx1"/>
      </a:tcTxStyle>
      <a:tcStyle>
        <a:tcBdr/>
        <a:fill>
          <a:solidFill>
            <a:schemeClr val="bg1">
              <a:lumMod val="95000"/>
            </a:schemeClr>
          </a:solidFill>
        </a:fill>
      </a:tcStyle>
    </a:lastRow>
    <a:firstRow>
      <a:tcTxStyle b="on">
        <a:fontRef idx="minor">
          <a:scrgbClr r="109" g="36" b="122"/>
        </a:fontRef>
        <a:schemeClr val="tx1"/>
      </a:tcTxStyle>
      <a:tcStyle>
        <a:tcBdr>
          <a:bottom>
            <a:ln w="1905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95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sti Relling (NO)" userId="780b3b5b-540b-49a0-873b-f14864b73781" providerId="ADAL" clId="{585B98E4-AFD8-496E-8FF1-DE2EAF132870}"/>
    <pc:docChg chg="undo custSel addSld delSld modSld sldOrd">
      <pc:chgData name="Kirsti Relling (NO)" userId="780b3b5b-540b-49a0-873b-f14864b73781" providerId="ADAL" clId="{585B98E4-AFD8-496E-8FF1-DE2EAF132870}" dt="2025-10-22T03:50:24.788" v="622" actId="255"/>
      <pc:docMkLst>
        <pc:docMk/>
      </pc:docMkLst>
      <pc:sldChg chg="del">
        <pc:chgData name="Kirsti Relling (NO)" userId="780b3b5b-540b-49a0-873b-f14864b73781" providerId="ADAL" clId="{585B98E4-AFD8-496E-8FF1-DE2EAF132870}" dt="2025-10-21T12:30:47.744" v="153" actId="47"/>
        <pc:sldMkLst>
          <pc:docMk/>
          <pc:sldMk cId="2172652911" sldId="271"/>
        </pc:sldMkLst>
      </pc:sldChg>
      <pc:sldChg chg="addSp delSp modSp mod">
        <pc:chgData name="Kirsti Relling (NO)" userId="780b3b5b-540b-49a0-873b-f14864b73781" providerId="ADAL" clId="{585B98E4-AFD8-496E-8FF1-DE2EAF132870}" dt="2025-10-21T12:30:54.609" v="154" actId="478"/>
        <pc:sldMkLst>
          <pc:docMk/>
          <pc:sldMk cId="2052970285" sldId="2147471537"/>
        </pc:sldMkLst>
        <pc:spChg chg="del">
          <ac:chgData name="Kirsti Relling (NO)" userId="780b3b5b-540b-49a0-873b-f14864b73781" providerId="ADAL" clId="{585B98E4-AFD8-496E-8FF1-DE2EAF132870}" dt="2025-10-21T12:29:24.109" v="47" actId="478"/>
          <ac:spMkLst>
            <pc:docMk/>
            <pc:sldMk cId="2052970285" sldId="2147471537"/>
            <ac:spMk id="3" creationId="{F1A4F26C-58FC-7B08-F872-C9631A0364C0}"/>
          </ac:spMkLst>
        </pc:spChg>
        <pc:spChg chg="del">
          <ac:chgData name="Kirsti Relling (NO)" userId="780b3b5b-540b-49a0-873b-f14864b73781" providerId="ADAL" clId="{585B98E4-AFD8-496E-8FF1-DE2EAF132870}" dt="2025-10-21T12:30:54.609" v="154" actId="478"/>
          <ac:spMkLst>
            <pc:docMk/>
            <pc:sldMk cId="2052970285" sldId="2147471537"/>
            <ac:spMk id="4" creationId="{0D25A036-FEA1-2A5D-7F29-FFE3DF2BAF03}"/>
          </ac:spMkLst>
        </pc:spChg>
        <pc:spChg chg="add del mod">
          <ac:chgData name="Kirsti Relling (NO)" userId="780b3b5b-540b-49a0-873b-f14864b73781" providerId="ADAL" clId="{585B98E4-AFD8-496E-8FF1-DE2EAF132870}" dt="2025-10-21T12:29:42.778" v="48" actId="478"/>
          <ac:spMkLst>
            <pc:docMk/>
            <pc:sldMk cId="2052970285" sldId="2147471537"/>
            <ac:spMk id="9" creationId="{C8E54F8D-CEBE-6C52-C318-EEEE23EC9E22}"/>
          </ac:spMkLst>
        </pc:spChg>
      </pc:sldChg>
      <pc:sldChg chg="setBg">
        <pc:chgData name="Kirsti Relling (NO)" userId="780b3b5b-540b-49a0-873b-f14864b73781" providerId="ADAL" clId="{585B98E4-AFD8-496E-8FF1-DE2EAF132870}" dt="2025-10-21T12:36:53.105" v="196"/>
        <pc:sldMkLst>
          <pc:docMk/>
          <pc:sldMk cId="2206172522" sldId="2147475647"/>
        </pc:sldMkLst>
      </pc:sldChg>
      <pc:sldChg chg="delSp mod">
        <pc:chgData name="Kirsti Relling (NO)" userId="780b3b5b-540b-49a0-873b-f14864b73781" providerId="ADAL" clId="{585B98E4-AFD8-496E-8FF1-DE2EAF132870}" dt="2025-10-21T12:30:57.026" v="155" actId="478"/>
        <pc:sldMkLst>
          <pc:docMk/>
          <pc:sldMk cId="1183497959" sldId="2147475648"/>
        </pc:sldMkLst>
        <pc:spChg chg="del">
          <ac:chgData name="Kirsti Relling (NO)" userId="780b3b5b-540b-49a0-873b-f14864b73781" providerId="ADAL" clId="{585B98E4-AFD8-496E-8FF1-DE2EAF132870}" dt="2025-10-21T12:30:57.026" v="155" actId="478"/>
          <ac:spMkLst>
            <pc:docMk/>
            <pc:sldMk cId="1183497959" sldId="2147475648"/>
            <ac:spMk id="4" creationId="{5CC57CA1-93B4-85E6-2AF4-CE77506EDDBB}"/>
          </ac:spMkLst>
        </pc:spChg>
      </pc:sldChg>
      <pc:sldChg chg="delSp mod">
        <pc:chgData name="Kirsti Relling (NO)" userId="780b3b5b-540b-49a0-873b-f14864b73781" providerId="ADAL" clId="{585B98E4-AFD8-496E-8FF1-DE2EAF132870}" dt="2025-10-21T12:30:59.867" v="156" actId="478"/>
        <pc:sldMkLst>
          <pc:docMk/>
          <pc:sldMk cId="3038392511" sldId="2147475649"/>
        </pc:sldMkLst>
        <pc:spChg chg="del">
          <ac:chgData name="Kirsti Relling (NO)" userId="780b3b5b-540b-49a0-873b-f14864b73781" providerId="ADAL" clId="{585B98E4-AFD8-496E-8FF1-DE2EAF132870}" dt="2025-10-21T12:30:59.867" v="156" actId="478"/>
          <ac:spMkLst>
            <pc:docMk/>
            <pc:sldMk cId="3038392511" sldId="2147475649"/>
            <ac:spMk id="4" creationId="{E16D95D6-8118-F1A2-F6BC-0C7E0C9E2383}"/>
          </ac:spMkLst>
        </pc:spChg>
      </pc:sldChg>
      <pc:sldChg chg="delSp mod">
        <pc:chgData name="Kirsti Relling (NO)" userId="780b3b5b-540b-49a0-873b-f14864b73781" providerId="ADAL" clId="{585B98E4-AFD8-496E-8FF1-DE2EAF132870}" dt="2025-10-21T12:31:22.609" v="158" actId="478"/>
        <pc:sldMkLst>
          <pc:docMk/>
          <pc:sldMk cId="1171148929" sldId="2147475650"/>
        </pc:sldMkLst>
        <pc:spChg chg="del">
          <ac:chgData name="Kirsti Relling (NO)" userId="780b3b5b-540b-49a0-873b-f14864b73781" providerId="ADAL" clId="{585B98E4-AFD8-496E-8FF1-DE2EAF132870}" dt="2025-10-21T12:31:22.609" v="158" actId="478"/>
          <ac:spMkLst>
            <pc:docMk/>
            <pc:sldMk cId="1171148929" sldId="2147475650"/>
            <ac:spMk id="4" creationId="{E3B709E0-0871-5A19-B322-D0CE912749FB}"/>
          </ac:spMkLst>
        </pc:spChg>
      </pc:sldChg>
      <pc:sldChg chg="del mod modShow">
        <pc:chgData name="Kirsti Relling (NO)" userId="780b3b5b-540b-49a0-873b-f14864b73781" providerId="ADAL" clId="{585B98E4-AFD8-496E-8FF1-DE2EAF132870}" dt="2025-10-22T03:47:12.512" v="576" actId="47"/>
        <pc:sldMkLst>
          <pc:docMk/>
          <pc:sldMk cId="1599340388" sldId="2147475651"/>
        </pc:sldMkLst>
      </pc:sldChg>
      <pc:sldChg chg="setBg">
        <pc:chgData name="Kirsti Relling (NO)" userId="780b3b5b-540b-49a0-873b-f14864b73781" providerId="ADAL" clId="{585B98E4-AFD8-496E-8FF1-DE2EAF132870}" dt="2025-10-21T12:36:27.728" v="193"/>
        <pc:sldMkLst>
          <pc:docMk/>
          <pc:sldMk cId="3138258160" sldId="2147475652"/>
        </pc:sldMkLst>
      </pc:sldChg>
      <pc:sldChg chg="setBg">
        <pc:chgData name="Kirsti Relling (NO)" userId="780b3b5b-540b-49a0-873b-f14864b73781" providerId="ADAL" clId="{585B98E4-AFD8-496E-8FF1-DE2EAF132870}" dt="2025-10-21T12:36:27.728" v="193"/>
        <pc:sldMkLst>
          <pc:docMk/>
          <pc:sldMk cId="94280791" sldId="2147475653"/>
        </pc:sldMkLst>
      </pc:sldChg>
      <pc:sldChg chg="modSp add del mod setBg">
        <pc:chgData name="Kirsti Relling (NO)" userId="780b3b5b-540b-49a0-873b-f14864b73781" providerId="ADAL" clId="{585B98E4-AFD8-496E-8FF1-DE2EAF132870}" dt="2025-10-21T12:39:03.836" v="303" actId="47"/>
        <pc:sldMkLst>
          <pc:docMk/>
          <pc:sldMk cId="3579534903" sldId="2147475654"/>
        </pc:sldMkLst>
        <pc:graphicFrameChg chg="mod">
          <ac:chgData name="Kirsti Relling (NO)" userId="780b3b5b-540b-49a0-873b-f14864b73781" providerId="ADAL" clId="{585B98E4-AFD8-496E-8FF1-DE2EAF132870}" dt="2025-10-21T12:38:58.960" v="302"/>
          <ac:graphicFrameMkLst>
            <pc:docMk/>
            <pc:sldMk cId="3579534903" sldId="2147475654"/>
            <ac:graphicFrameMk id="9" creationId="{D796905B-3A37-45E6-4B8D-8CB4EF7230DF}"/>
          </ac:graphicFrameMkLst>
        </pc:graphicFrameChg>
        <pc:picChg chg="mod">
          <ac:chgData name="Kirsti Relling (NO)" userId="780b3b5b-540b-49a0-873b-f14864b73781" providerId="ADAL" clId="{585B98E4-AFD8-496E-8FF1-DE2EAF132870}" dt="2025-10-21T12:33:32.844" v="176" actId="14100"/>
          <ac:picMkLst>
            <pc:docMk/>
            <pc:sldMk cId="3579534903" sldId="2147475654"/>
            <ac:picMk id="23" creationId="{A29C81D4-9CC7-75E5-5DF0-99D17F5E664F}"/>
          </ac:picMkLst>
        </pc:picChg>
      </pc:sldChg>
      <pc:sldChg chg="delSp mod">
        <pc:chgData name="Kirsti Relling (NO)" userId="780b3b5b-540b-49a0-873b-f14864b73781" providerId="ADAL" clId="{585B98E4-AFD8-496E-8FF1-DE2EAF132870}" dt="2025-10-21T12:40:50.169" v="304" actId="478"/>
        <pc:sldMkLst>
          <pc:docMk/>
          <pc:sldMk cId="250196457" sldId="2147475655"/>
        </pc:sldMkLst>
        <pc:spChg chg="del">
          <ac:chgData name="Kirsti Relling (NO)" userId="780b3b5b-540b-49a0-873b-f14864b73781" providerId="ADAL" clId="{585B98E4-AFD8-496E-8FF1-DE2EAF132870}" dt="2025-10-21T12:40:50.169" v="304" actId="478"/>
          <ac:spMkLst>
            <pc:docMk/>
            <pc:sldMk cId="250196457" sldId="2147475655"/>
            <ac:spMk id="6" creationId="{9E750436-59CF-B45B-2895-ACF49A2A5293}"/>
          </ac:spMkLst>
        </pc:spChg>
      </pc:sldChg>
      <pc:sldChg chg="delSp modSp mod">
        <pc:chgData name="Kirsti Relling (NO)" userId="780b3b5b-540b-49a0-873b-f14864b73781" providerId="ADAL" clId="{585B98E4-AFD8-496E-8FF1-DE2EAF132870}" dt="2025-10-21T12:47:37.167" v="477" actId="478"/>
        <pc:sldMkLst>
          <pc:docMk/>
          <pc:sldMk cId="2947401411" sldId="2147475657"/>
        </pc:sldMkLst>
        <pc:spChg chg="del">
          <ac:chgData name="Kirsti Relling (NO)" userId="780b3b5b-540b-49a0-873b-f14864b73781" providerId="ADAL" clId="{585B98E4-AFD8-496E-8FF1-DE2EAF132870}" dt="2025-10-21T12:47:37.167" v="477" actId="478"/>
          <ac:spMkLst>
            <pc:docMk/>
            <pc:sldMk cId="2947401411" sldId="2147475657"/>
            <ac:spMk id="6" creationId="{10976694-3D41-1211-8F08-252B31E9000B}"/>
          </ac:spMkLst>
        </pc:spChg>
        <pc:spChg chg="mod">
          <ac:chgData name="Kirsti Relling (NO)" userId="780b3b5b-540b-49a0-873b-f14864b73781" providerId="ADAL" clId="{585B98E4-AFD8-496E-8FF1-DE2EAF132870}" dt="2025-10-21T12:47:11.056" v="475" actId="14100"/>
          <ac:spMkLst>
            <pc:docMk/>
            <pc:sldMk cId="2947401411" sldId="2147475657"/>
            <ac:spMk id="13" creationId="{03A83249-8FDC-FBF9-87D4-56D4A6F1C90F}"/>
          </ac:spMkLst>
        </pc:spChg>
      </pc:sldChg>
      <pc:sldChg chg="delSp mod">
        <pc:chgData name="Kirsti Relling (NO)" userId="780b3b5b-540b-49a0-873b-f14864b73781" providerId="ADAL" clId="{585B98E4-AFD8-496E-8FF1-DE2EAF132870}" dt="2025-10-22T03:46:41.090" v="575" actId="478"/>
        <pc:sldMkLst>
          <pc:docMk/>
          <pc:sldMk cId="3052489705" sldId="2147475659"/>
        </pc:sldMkLst>
        <pc:spChg chg="del">
          <ac:chgData name="Kirsti Relling (NO)" userId="780b3b5b-540b-49a0-873b-f14864b73781" providerId="ADAL" clId="{585B98E4-AFD8-496E-8FF1-DE2EAF132870}" dt="2025-10-22T03:46:41.090" v="575" actId="478"/>
          <ac:spMkLst>
            <pc:docMk/>
            <pc:sldMk cId="3052489705" sldId="2147475659"/>
            <ac:spMk id="6" creationId="{2EC2F227-EE89-8C86-31FD-3B6E216712DB}"/>
          </ac:spMkLst>
        </pc:spChg>
      </pc:sldChg>
      <pc:sldChg chg="addSp delSp modSp mod">
        <pc:chgData name="Kirsti Relling (NO)" userId="780b3b5b-540b-49a0-873b-f14864b73781" providerId="ADAL" clId="{585B98E4-AFD8-496E-8FF1-DE2EAF132870}" dt="2025-10-22T03:43:48.226" v="572"/>
        <pc:sldMkLst>
          <pc:docMk/>
          <pc:sldMk cId="2638452686" sldId="2147475660"/>
        </pc:sldMkLst>
        <pc:spChg chg="add del mod">
          <ac:chgData name="Kirsti Relling (NO)" userId="780b3b5b-540b-49a0-873b-f14864b73781" providerId="ADAL" clId="{585B98E4-AFD8-496E-8FF1-DE2EAF132870}" dt="2025-10-22T03:43:17.628" v="543" actId="478"/>
          <ac:spMkLst>
            <pc:docMk/>
            <pc:sldMk cId="2638452686" sldId="2147475660"/>
            <ac:spMk id="3" creationId="{8AD2643B-0FA2-6DB6-4ED4-0207C538BE69}"/>
          </ac:spMkLst>
        </pc:spChg>
        <pc:spChg chg="add mod">
          <ac:chgData name="Kirsti Relling (NO)" userId="780b3b5b-540b-49a0-873b-f14864b73781" providerId="ADAL" clId="{585B98E4-AFD8-496E-8FF1-DE2EAF132870}" dt="2025-10-22T03:43:29.970" v="544" actId="255"/>
          <ac:spMkLst>
            <pc:docMk/>
            <pc:sldMk cId="2638452686" sldId="2147475660"/>
            <ac:spMk id="4" creationId="{F36D0A01-95E7-EA08-4E70-FB67AA5DA749}"/>
          </ac:spMkLst>
        </pc:spChg>
        <pc:spChg chg="del">
          <ac:chgData name="Kirsti Relling (NO)" userId="780b3b5b-540b-49a0-873b-f14864b73781" providerId="ADAL" clId="{585B98E4-AFD8-496E-8FF1-DE2EAF132870}" dt="2025-10-21T12:24:57.011" v="0" actId="478"/>
          <ac:spMkLst>
            <pc:docMk/>
            <pc:sldMk cId="2638452686" sldId="2147475660"/>
            <ac:spMk id="6" creationId="{D186B47D-03C9-EC0F-1A7C-EE7D3928EC75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10" creationId="{EB1C0BD0-6976-FE00-E45F-0E41C240B5E8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11" creationId="{BB326FEE-3AD4-6513-2F1C-B03217F692C9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3" creationId="{D4B342F6-F5E0-912D-484F-82C4767D3369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4" creationId="{4D5D4D66-E443-61FD-8419-61B56B645C2D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5" creationId="{8A0B3506-39B4-5095-E441-5AE891580BD4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6" creationId="{37AF4F45-C15E-4399-C1F4-F937049AFEF2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7" creationId="{48100284-1F60-9252-3DD5-DA90C517E907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8" creationId="{02D14DA2-30CA-CD9A-A46E-1CC432D3D8B9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39" creationId="{7B84BBAC-5AE5-2570-8CC1-59153458A60D}"/>
          </ac:spMkLst>
        </pc:spChg>
        <pc:spChg chg="mod">
          <ac:chgData name="Kirsti Relling (NO)" userId="780b3b5b-540b-49a0-873b-f14864b73781" providerId="ADAL" clId="{585B98E4-AFD8-496E-8FF1-DE2EAF132870}" dt="2025-10-22T03:43:47.690" v="570" actId="1038"/>
          <ac:spMkLst>
            <pc:docMk/>
            <pc:sldMk cId="2638452686" sldId="2147475660"/>
            <ac:spMk id="41" creationId="{DED0855E-BC7A-8A44-AD2E-0446A63D2921}"/>
          </ac:spMkLst>
        </pc:spChg>
        <pc:spChg chg="del">
          <ac:chgData name="Kirsti Relling (NO)" userId="780b3b5b-540b-49a0-873b-f14864b73781" providerId="ADAL" clId="{585B98E4-AFD8-496E-8FF1-DE2EAF132870}" dt="2025-10-22T03:43:13.209" v="541" actId="478"/>
          <ac:spMkLst>
            <pc:docMk/>
            <pc:sldMk cId="2638452686" sldId="2147475660"/>
            <ac:spMk id="42" creationId="{E6E7E66E-3973-A2A0-8E85-EA4B9A6AD7F3}"/>
          </ac:spMkLst>
        </pc:spChg>
        <pc:graphicFrameChg chg="mod">
          <ac:chgData name="Kirsti Relling (NO)" userId="780b3b5b-540b-49a0-873b-f14864b73781" providerId="ADAL" clId="{585B98E4-AFD8-496E-8FF1-DE2EAF132870}" dt="2025-10-22T03:43:48.226" v="572"/>
          <ac:graphicFrameMkLst>
            <pc:docMk/>
            <pc:sldMk cId="2638452686" sldId="2147475660"/>
            <ac:graphicFrameMk id="44" creationId="{A0FDD9B7-76FB-956D-4904-07B8B6B6AE1A}"/>
          </ac:graphicFrameMkLst>
        </pc:graphicFrameChg>
      </pc:sldChg>
      <pc:sldChg chg="delSp mod">
        <pc:chgData name="Kirsti Relling (NO)" userId="780b3b5b-540b-49a0-873b-f14864b73781" providerId="ADAL" clId="{585B98E4-AFD8-496E-8FF1-DE2EAF132870}" dt="2025-10-22T03:41:42.352" v="501" actId="478"/>
        <pc:sldMkLst>
          <pc:docMk/>
          <pc:sldMk cId="223164002" sldId="2147475661"/>
        </pc:sldMkLst>
        <pc:spChg chg="del">
          <ac:chgData name="Kirsti Relling (NO)" userId="780b3b5b-540b-49a0-873b-f14864b73781" providerId="ADAL" clId="{585B98E4-AFD8-496E-8FF1-DE2EAF132870}" dt="2025-10-22T03:41:42.352" v="501" actId="478"/>
          <ac:spMkLst>
            <pc:docMk/>
            <pc:sldMk cId="223164002" sldId="2147475661"/>
            <ac:spMk id="5" creationId="{07B9CA36-ACA8-9EB8-BE20-07EAB418223E}"/>
          </ac:spMkLst>
        </pc:spChg>
      </pc:sldChg>
      <pc:sldChg chg="addSp delSp modSp mod">
        <pc:chgData name="Kirsti Relling (NO)" userId="780b3b5b-540b-49a0-873b-f14864b73781" providerId="ADAL" clId="{585B98E4-AFD8-496E-8FF1-DE2EAF132870}" dt="2025-10-22T03:41:38.500" v="500" actId="478"/>
        <pc:sldMkLst>
          <pc:docMk/>
          <pc:sldMk cId="1918188371" sldId="2147475662"/>
        </pc:sldMkLst>
        <pc:spChg chg="del">
          <ac:chgData name="Kirsti Relling (NO)" userId="780b3b5b-540b-49a0-873b-f14864b73781" providerId="ADAL" clId="{585B98E4-AFD8-496E-8FF1-DE2EAF132870}" dt="2025-10-22T03:41:38.500" v="500" actId="478"/>
          <ac:spMkLst>
            <pc:docMk/>
            <pc:sldMk cId="1918188371" sldId="2147475662"/>
            <ac:spMk id="7" creationId="{736D81CE-5869-01C0-2887-2BF7481E120B}"/>
          </ac:spMkLst>
        </pc:spChg>
        <pc:picChg chg="add mod">
          <ac:chgData name="Kirsti Relling (NO)" userId="780b3b5b-540b-49a0-873b-f14864b73781" providerId="ADAL" clId="{585B98E4-AFD8-496E-8FF1-DE2EAF132870}" dt="2025-10-22T03:37:37.811" v="483" actId="1076"/>
          <ac:picMkLst>
            <pc:docMk/>
            <pc:sldMk cId="1918188371" sldId="2147475662"/>
            <ac:picMk id="10" creationId="{FB3368DA-402C-9628-2782-EA27DBD867EF}"/>
          </ac:picMkLst>
        </pc:picChg>
        <pc:picChg chg="add del mod">
          <ac:chgData name="Kirsti Relling (NO)" userId="780b3b5b-540b-49a0-873b-f14864b73781" providerId="ADAL" clId="{585B98E4-AFD8-496E-8FF1-DE2EAF132870}" dt="2025-10-22T03:40:39.224" v="491" actId="478"/>
          <ac:picMkLst>
            <pc:docMk/>
            <pc:sldMk cId="1918188371" sldId="2147475662"/>
            <ac:picMk id="11" creationId="{C24D69A2-C938-197C-8D32-49F0C23836F1}"/>
          </ac:picMkLst>
        </pc:picChg>
        <pc:picChg chg="add mod">
          <ac:chgData name="Kirsti Relling (NO)" userId="780b3b5b-540b-49a0-873b-f14864b73781" providerId="ADAL" clId="{585B98E4-AFD8-496E-8FF1-DE2EAF132870}" dt="2025-10-22T03:39:18.245" v="490" actId="14100"/>
          <ac:picMkLst>
            <pc:docMk/>
            <pc:sldMk cId="1918188371" sldId="2147475662"/>
            <ac:picMk id="12" creationId="{48439AFB-525A-2C28-3F04-509C09ECC140}"/>
          </ac:picMkLst>
        </pc:picChg>
        <pc:picChg chg="add mod">
          <ac:chgData name="Kirsti Relling (NO)" userId="780b3b5b-540b-49a0-873b-f14864b73781" providerId="ADAL" clId="{585B98E4-AFD8-496E-8FF1-DE2EAF132870}" dt="2025-10-22T03:40:49.601" v="495" actId="1076"/>
          <ac:picMkLst>
            <pc:docMk/>
            <pc:sldMk cId="1918188371" sldId="2147475662"/>
            <ac:picMk id="13" creationId="{2070592D-E956-6035-2E6B-1B6E4EA02375}"/>
          </ac:picMkLst>
        </pc:picChg>
        <pc:picChg chg="add mod">
          <ac:chgData name="Kirsti Relling (NO)" userId="780b3b5b-540b-49a0-873b-f14864b73781" providerId="ADAL" clId="{585B98E4-AFD8-496E-8FF1-DE2EAF132870}" dt="2025-10-22T03:41:20.379" v="499" actId="1076"/>
          <ac:picMkLst>
            <pc:docMk/>
            <pc:sldMk cId="1918188371" sldId="2147475662"/>
            <ac:picMk id="14" creationId="{759A3DE0-EC18-CFAC-0469-50E892EE305D}"/>
          </ac:picMkLst>
        </pc:picChg>
      </pc:sldChg>
      <pc:sldChg chg="delSp mod">
        <pc:chgData name="Kirsti Relling (NO)" userId="780b3b5b-540b-49a0-873b-f14864b73781" providerId="ADAL" clId="{585B98E4-AFD8-496E-8FF1-DE2EAF132870}" dt="2025-10-22T03:46:31.011" v="574" actId="478"/>
        <pc:sldMkLst>
          <pc:docMk/>
          <pc:sldMk cId="1722889109" sldId="2147475664"/>
        </pc:sldMkLst>
        <pc:spChg chg="del">
          <ac:chgData name="Kirsti Relling (NO)" userId="780b3b5b-540b-49a0-873b-f14864b73781" providerId="ADAL" clId="{585B98E4-AFD8-496E-8FF1-DE2EAF132870}" dt="2025-10-22T03:46:31.011" v="574" actId="478"/>
          <ac:spMkLst>
            <pc:docMk/>
            <pc:sldMk cId="1722889109" sldId="2147475664"/>
            <ac:spMk id="15" creationId="{F2DB2EB4-DFF9-F2D1-8F4F-6CA7296F1396}"/>
          </ac:spMkLst>
        </pc:spChg>
      </pc:sldChg>
      <pc:sldChg chg="addSp delSp mod">
        <pc:chgData name="Kirsti Relling (NO)" userId="780b3b5b-540b-49a0-873b-f14864b73781" providerId="ADAL" clId="{585B98E4-AFD8-496E-8FF1-DE2EAF132870}" dt="2025-10-21T12:47:33.921" v="476" actId="478"/>
        <pc:sldMkLst>
          <pc:docMk/>
          <pc:sldMk cId="2924542330" sldId="2147475665"/>
        </pc:sldMkLst>
        <pc:spChg chg="add del">
          <ac:chgData name="Kirsti Relling (NO)" userId="780b3b5b-540b-49a0-873b-f14864b73781" providerId="ADAL" clId="{585B98E4-AFD8-496E-8FF1-DE2EAF132870}" dt="2025-10-21T12:47:33.921" v="476" actId="478"/>
          <ac:spMkLst>
            <pc:docMk/>
            <pc:sldMk cId="2924542330" sldId="2147475665"/>
            <ac:spMk id="7" creationId="{22608D59-E255-84B7-AD4B-615FC7CE4F40}"/>
          </ac:spMkLst>
        </pc:spChg>
      </pc:sldChg>
      <pc:sldChg chg="addSp delSp modSp mod modClrScheme chgLayout">
        <pc:chgData name="Kirsti Relling (NO)" userId="780b3b5b-540b-49a0-873b-f14864b73781" providerId="ADAL" clId="{585B98E4-AFD8-496E-8FF1-DE2EAF132870}" dt="2025-10-21T12:26:13.239" v="19"/>
        <pc:sldMkLst>
          <pc:docMk/>
          <pc:sldMk cId="2634647708" sldId="2147475668"/>
        </pc:sldMkLst>
        <pc:spChg chg="del">
          <ac:chgData name="Kirsti Relling (NO)" userId="780b3b5b-540b-49a0-873b-f14864b73781" providerId="ADAL" clId="{585B98E4-AFD8-496E-8FF1-DE2EAF132870}" dt="2025-10-21T12:25:51.284" v="5" actId="700"/>
          <ac:spMkLst>
            <pc:docMk/>
            <pc:sldMk cId="2634647708" sldId="2147475668"/>
            <ac:spMk id="2" creationId="{78E7C6B4-CE3F-4B16-4FCC-C0E6C94F8B9E}"/>
          </ac:spMkLst>
        </pc:spChg>
        <pc:spChg chg="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3" creationId="{72C2006E-C5C5-5EC2-BFAE-842358298027}"/>
          </ac:spMkLst>
        </pc:spChg>
        <pc:spChg chg="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4" creationId="{37499D6A-1F80-9FAC-3B91-84B0E4D0F18B}"/>
          </ac:spMkLst>
        </pc:spChg>
        <pc:spChg chg="add del 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5" creationId="{300E6788-A21C-F95C-EAAA-97A8FFEE8DFB}"/>
          </ac:spMkLst>
        </pc:spChg>
        <pc:spChg chg="add del 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6" creationId="{C9C6E5D8-0F8A-7321-B934-2D0DB2184EC1}"/>
          </ac:spMkLst>
        </pc:spChg>
        <pc:spChg chg="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7" creationId="{73243A28-4C41-7795-72CD-47B0CF268CAE}"/>
          </ac:spMkLst>
        </pc:spChg>
        <pc:spChg chg="add del 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9" creationId="{E8F2AE4E-DA59-49DA-D089-93B3BBDEA094}"/>
          </ac:spMkLst>
        </pc:spChg>
        <pc:spChg chg="add del 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10" creationId="{773C4000-2892-5A85-61A0-A5CB8880A784}"/>
          </ac:spMkLst>
        </pc:spChg>
        <pc:spChg chg="add del mod ord">
          <ac:chgData name="Kirsti Relling (NO)" userId="780b3b5b-540b-49a0-873b-f14864b73781" providerId="ADAL" clId="{585B98E4-AFD8-496E-8FF1-DE2EAF132870}" dt="2025-10-21T12:26:12.650" v="17" actId="700"/>
          <ac:spMkLst>
            <pc:docMk/>
            <pc:sldMk cId="2634647708" sldId="2147475668"/>
            <ac:spMk id="11" creationId="{ED24D9FF-33A0-BB2E-32CD-AB07529C26D2}"/>
          </ac:spMkLst>
        </pc:spChg>
        <pc:graphicFrameChg chg="mod">
          <ac:chgData name="Kirsti Relling (NO)" userId="780b3b5b-540b-49a0-873b-f14864b73781" providerId="ADAL" clId="{585B98E4-AFD8-496E-8FF1-DE2EAF132870}" dt="2025-10-21T12:26:13.239" v="19"/>
          <ac:graphicFrameMkLst>
            <pc:docMk/>
            <pc:sldMk cId="2634647708" sldId="2147475668"/>
            <ac:graphicFrameMk id="8" creationId="{352E64BE-0135-1042-40CC-8C9EF7978793}"/>
          </ac:graphicFrameMkLst>
        </pc:graphicFrameChg>
      </pc:sldChg>
      <pc:sldChg chg="addSp delSp modSp add mod ord setBg modShow">
        <pc:chgData name="Kirsti Relling (NO)" userId="780b3b5b-540b-49a0-873b-f14864b73781" providerId="ADAL" clId="{585B98E4-AFD8-496E-8FF1-DE2EAF132870}" dt="2025-10-22T03:50:24.788" v="622" actId="255"/>
        <pc:sldMkLst>
          <pc:docMk/>
          <pc:sldMk cId="1462671515" sldId="2147475669"/>
        </pc:sldMkLst>
        <pc:spChg chg="del">
          <ac:chgData name="Kirsti Relling (NO)" userId="780b3b5b-540b-49a0-873b-f14864b73781" providerId="ADAL" clId="{585B98E4-AFD8-496E-8FF1-DE2EAF132870}" dt="2025-10-21T12:32:45.809" v="166" actId="478"/>
          <ac:spMkLst>
            <pc:docMk/>
            <pc:sldMk cId="1462671515" sldId="2147475669"/>
            <ac:spMk id="6" creationId="{8A4890D8-FA97-BC7C-2B14-745B06B65FB8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23" creationId="{14100783-AB59-0A42-2201-F9A5732CCB5B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25" creationId="{E5D75EC0-BF11-AE49-E673-80E2A798FC70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26" creationId="{DF3F6968-F41B-17E5-0E67-659659E8CDE4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27" creationId="{5D099588-5D6C-BA70-92FD-50C147E2E244}"/>
          </ac:spMkLst>
        </pc:spChg>
        <pc:spChg chg="mod">
          <ac:chgData name="Kirsti Relling (NO)" userId="780b3b5b-540b-49a0-873b-f14864b73781" providerId="ADAL" clId="{585B98E4-AFD8-496E-8FF1-DE2EAF132870}" dt="2025-10-21T12:33:04.257" v="171" actId="207"/>
          <ac:spMkLst>
            <pc:docMk/>
            <pc:sldMk cId="1462671515" sldId="2147475669"/>
            <ac:spMk id="34" creationId="{B93CB64E-3AFC-EB85-3AAF-33CC231CC00F}"/>
          </ac:spMkLst>
        </pc:spChg>
        <pc:spChg chg="add del mod">
          <ac:chgData name="Kirsti Relling (NO)" userId="780b3b5b-540b-49a0-873b-f14864b73781" providerId="ADAL" clId="{585B98E4-AFD8-496E-8FF1-DE2EAF132870}" dt="2025-10-22T03:48:48.494" v="613" actId="478"/>
          <ac:spMkLst>
            <pc:docMk/>
            <pc:sldMk cId="1462671515" sldId="2147475669"/>
            <ac:spMk id="35" creationId="{FBAE55C2-CD60-D5FD-284B-3B68F9478829}"/>
          </ac:spMkLst>
        </pc:spChg>
        <pc:spChg chg="mod">
          <ac:chgData name="Kirsti Relling (NO)" userId="780b3b5b-540b-49a0-873b-f14864b73781" providerId="ADAL" clId="{585B98E4-AFD8-496E-8FF1-DE2EAF132870}" dt="2025-10-22T03:50:24.788" v="622" actId="255"/>
          <ac:spMkLst>
            <pc:docMk/>
            <pc:sldMk cId="1462671515" sldId="2147475669"/>
            <ac:spMk id="36" creationId="{54279A06-8BAC-E0E4-BA38-4459D36E7C24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38" creationId="{476C3774-B896-0616-1D47-E76BD68653B6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40" creationId="{61F99CA5-9A58-C308-36EB-2A095F79F2E4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43" creationId="{67501D5C-AEBA-5DE0-798D-A700F9435CA5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44" creationId="{34378902-1BF1-A932-600D-78BA508919FD}"/>
          </ac:spMkLst>
        </pc:spChg>
        <pc:spChg chg="mod">
          <ac:chgData name="Kirsti Relling (NO)" userId="780b3b5b-540b-49a0-873b-f14864b73781" providerId="ADAL" clId="{585B98E4-AFD8-496E-8FF1-DE2EAF132870}" dt="2025-10-22T03:47:52.194" v="606" actId="1036"/>
          <ac:spMkLst>
            <pc:docMk/>
            <pc:sldMk cId="1462671515" sldId="2147475669"/>
            <ac:spMk id="51" creationId="{BCAA9C87-0712-E0CD-CF0C-FF63777B67D7}"/>
          </ac:spMkLst>
        </pc:spChg>
        <pc:spChg chg="mod">
          <ac:chgData name="Kirsti Relling (NO)" userId="780b3b5b-540b-49a0-873b-f14864b73781" providerId="ADAL" clId="{585B98E4-AFD8-496E-8FF1-DE2EAF132870}" dt="2025-10-22T03:47:30.804" v="578" actId="14100"/>
          <ac:spMkLst>
            <pc:docMk/>
            <pc:sldMk cId="1462671515" sldId="2147475669"/>
            <ac:spMk id="52" creationId="{F0990DF5-DC7A-57FA-4E5E-E92DF8FE48C9}"/>
          </ac:spMkLst>
        </pc:spChg>
        <pc:picChg chg="add mod">
          <ac:chgData name="Kirsti Relling (NO)" userId="780b3b5b-540b-49a0-873b-f14864b73781" providerId="ADAL" clId="{585B98E4-AFD8-496E-8FF1-DE2EAF132870}" dt="2025-10-22T03:48:45.388" v="611" actId="1076"/>
          <ac:picMkLst>
            <pc:docMk/>
            <pc:sldMk cId="1462671515" sldId="2147475669"/>
            <ac:picMk id="2" creationId="{D3123329-B288-7781-E969-92F56F7EBA2F}"/>
          </ac:picMkLst>
        </pc:picChg>
        <pc:picChg chg="add del mod">
          <ac:chgData name="Kirsti Relling (NO)" userId="780b3b5b-540b-49a0-873b-f14864b73781" providerId="ADAL" clId="{585B98E4-AFD8-496E-8FF1-DE2EAF132870}" dt="2025-10-22T03:49:19.590" v="616" actId="478"/>
          <ac:picMkLst>
            <pc:docMk/>
            <pc:sldMk cId="1462671515" sldId="2147475669"/>
            <ac:picMk id="3" creationId="{02028F86-9F4F-C4B8-E257-BB62B547EDD6}"/>
          </ac:picMkLst>
        </pc:picChg>
        <pc:picChg chg="mod">
          <ac:chgData name="Kirsti Relling (NO)" userId="780b3b5b-540b-49a0-873b-f14864b73781" providerId="ADAL" clId="{585B98E4-AFD8-496E-8FF1-DE2EAF132870}" dt="2025-10-22T03:48:46.114" v="612" actId="1076"/>
          <ac:picMkLst>
            <pc:docMk/>
            <pc:sldMk cId="1462671515" sldId="2147475669"/>
            <ac:picMk id="16" creationId="{2C76AAD9-7D9F-C8E5-56FB-15DB0D77743F}"/>
          </ac:picMkLst>
        </pc:picChg>
        <pc:picChg chg="mod">
          <ac:chgData name="Kirsti Relling (NO)" userId="780b3b5b-540b-49a0-873b-f14864b73781" providerId="ADAL" clId="{585B98E4-AFD8-496E-8FF1-DE2EAF132870}" dt="2025-10-21T12:32:36.803" v="165" actId="408"/>
          <ac:picMkLst>
            <pc:docMk/>
            <pc:sldMk cId="1462671515" sldId="2147475669"/>
            <ac:picMk id="17" creationId="{4150E0FA-67AD-4FB0-6E8E-F337BDCF3945}"/>
          </ac:picMkLst>
        </pc:picChg>
        <pc:picChg chg="mod">
          <ac:chgData name="Kirsti Relling (NO)" userId="780b3b5b-540b-49a0-873b-f14864b73781" providerId="ADAL" clId="{585B98E4-AFD8-496E-8FF1-DE2EAF132870}" dt="2025-10-21T12:32:36.803" v="165" actId="408"/>
          <ac:picMkLst>
            <pc:docMk/>
            <pc:sldMk cId="1462671515" sldId="2147475669"/>
            <ac:picMk id="19" creationId="{23681804-6EF0-5BB4-E9CE-4887613F1F0C}"/>
          </ac:picMkLst>
        </pc:picChg>
        <pc:picChg chg="mod">
          <ac:chgData name="Kirsti Relling (NO)" userId="780b3b5b-540b-49a0-873b-f14864b73781" providerId="ADAL" clId="{585B98E4-AFD8-496E-8FF1-DE2EAF132870}" dt="2025-10-21T12:32:36.803" v="165" actId="408"/>
          <ac:picMkLst>
            <pc:docMk/>
            <pc:sldMk cId="1462671515" sldId="2147475669"/>
            <ac:picMk id="20" creationId="{3115EC45-646F-2B29-F5DA-C27D49C45EEB}"/>
          </ac:picMkLst>
        </pc:picChg>
        <pc:cxnChg chg="mod">
          <ac:chgData name="Kirsti Relling (NO)" userId="780b3b5b-540b-49a0-873b-f14864b73781" providerId="ADAL" clId="{585B98E4-AFD8-496E-8FF1-DE2EAF132870}" dt="2025-10-22T03:50:19.466" v="621" actId="14100"/>
          <ac:cxnSpMkLst>
            <pc:docMk/>
            <pc:sldMk cId="1462671515" sldId="2147475669"/>
            <ac:cxnSpMk id="47" creationId="{FE0847F2-9B86-74B2-CE95-8D5D0CE438AA}"/>
          </ac:cxnSpMkLst>
        </pc:cxnChg>
      </pc:sldChg>
      <pc:sldChg chg="addSp delSp modSp add del mod modClrScheme modShow chgLayout">
        <pc:chgData name="Kirsti Relling (NO)" userId="780b3b5b-540b-49a0-873b-f14864b73781" providerId="ADAL" clId="{585B98E4-AFD8-496E-8FF1-DE2EAF132870}" dt="2025-10-21T12:30:44.627" v="152" actId="47"/>
        <pc:sldMkLst>
          <pc:docMk/>
          <pc:sldMk cId="4230176811" sldId="2147475669"/>
        </pc:sldMkLst>
        <pc:spChg chg="mod ord">
          <ac:chgData name="Kirsti Relling (NO)" userId="780b3b5b-540b-49a0-873b-f14864b73781" providerId="ADAL" clId="{585B98E4-AFD8-496E-8FF1-DE2EAF132870}" dt="2025-10-21T12:30:25.974" v="99" actId="700"/>
          <ac:spMkLst>
            <pc:docMk/>
            <pc:sldMk cId="4230176811" sldId="2147475669"/>
            <ac:spMk id="3" creationId="{97F97DE4-B6D7-E1E1-0CB6-FCF3C4B5FF00}"/>
          </ac:spMkLst>
        </pc:spChg>
        <pc:spChg chg="mod ord">
          <ac:chgData name="Kirsti Relling (NO)" userId="780b3b5b-540b-49a0-873b-f14864b73781" providerId="ADAL" clId="{585B98E4-AFD8-496E-8FF1-DE2EAF132870}" dt="2025-10-21T12:30:25.974" v="99" actId="700"/>
          <ac:spMkLst>
            <pc:docMk/>
            <pc:sldMk cId="4230176811" sldId="2147475669"/>
            <ac:spMk id="4" creationId="{E0D27DAC-BE04-E40B-D3B4-214A1202916E}"/>
          </ac:spMkLst>
        </pc:spChg>
        <pc:spChg chg="add del mod modVis">
          <ac:chgData name="Kirsti Relling (NO)" userId="780b3b5b-540b-49a0-873b-f14864b73781" providerId="ADAL" clId="{585B98E4-AFD8-496E-8FF1-DE2EAF132870}" dt="2025-10-21T12:29:09.985" v="44"/>
          <ac:spMkLst>
            <pc:docMk/>
            <pc:sldMk cId="4230176811" sldId="2147475669"/>
            <ac:spMk id="5" creationId="{E66C3A9F-3170-BC5A-ECFB-553C744FB53C}"/>
          </ac:spMkLst>
        </pc:spChg>
        <pc:spChg chg="del mod ord">
          <ac:chgData name="Kirsti Relling (NO)" userId="780b3b5b-540b-49a0-873b-f14864b73781" providerId="ADAL" clId="{585B98E4-AFD8-496E-8FF1-DE2EAF132870}" dt="2025-10-21T12:30:40.358" v="150" actId="478"/>
          <ac:spMkLst>
            <pc:docMk/>
            <pc:sldMk cId="4230176811" sldId="2147475669"/>
            <ac:spMk id="6" creationId="{11659EAF-5D9C-BEA7-006B-5AA54EDBF3B2}"/>
          </ac:spMkLst>
        </pc:spChg>
        <pc:spChg chg="mod ord">
          <ac:chgData name="Kirsti Relling (NO)" userId="780b3b5b-540b-49a0-873b-f14864b73781" providerId="ADAL" clId="{585B98E4-AFD8-496E-8FF1-DE2EAF132870}" dt="2025-10-21T12:30:25.974" v="99" actId="700"/>
          <ac:spMkLst>
            <pc:docMk/>
            <pc:sldMk cId="4230176811" sldId="2147475669"/>
            <ac:spMk id="8" creationId="{7E90D5CC-F9DC-2B58-1856-682FFE2F2461}"/>
          </ac:spMkLst>
        </pc:spChg>
        <pc:spChg chg="add del mod modVis">
          <ac:chgData name="Kirsti Relling (NO)" userId="780b3b5b-540b-49a0-873b-f14864b73781" providerId="ADAL" clId="{585B98E4-AFD8-496E-8FF1-DE2EAF132870}" dt="2025-10-21T12:29:55.957" v="71"/>
          <ac:spMkLst>
            <pc:docMk/>
            <pc:sldMk cId="4230176811" sldId="2147475669"/>
            <ac:spMk id="9" creationId="{617A2864-4058-ED36-B514-1B42A0CC9DE3}"/>
          </ac:spMkLst>
        </pc:spChg>
        <pc:spChg chg="add del mod ord">
          <ac:chgData name="Kirsti Relling (NO)" userId="780b3b5b-540b-49a0-873b-f14864b73781" providerId="ADAL" clId="{585B98E4-AFD8-496E-8FF1-DE2EAF132870}" dt="2025-10-21T12:30:25.974" v="99" actId="700"/>
          <ac:spMkLst>
            <pc:docMk/>
            <pc:sldMk cId="4230176811" sldId="2147475669"/>
            <ac:spMk id="10" creationId="{259A0B82-08CB-F0C0-6E51-A46E4AC617DF}"/>
          </ac:spMkLst>
        </pc:spChg>
        <pc:spChg chg="add del mod modVis">
          <ac:chgData name="Kirsti Relling (NO)" userId="780b3b5b-540b-49a0-873b-f14864b73781" providerId="ADAL" clId="{585B98E4-AFD8-496E-8FF1-DE2EAF132870}" dt="2025-10-21T12:30:03.103" v="96"/>
          <ac:spMkLst>
            <pc:docMk/>
            <pc:sldMk cId="4230176811" sldId="2147475669"/>
            <ac:spMk id="11" creationId="{62D8FE84-1CC0-BE31-8287-10A32F38815D}"/>
          </ac:spMkLst>
        </pc:spChg>
        <pc:spChg chg="add del mod modVis">
          <ac:chgData name="Kirsti Relling (NO)" userId="780b3b5b-540b-49a0-873b-f14864b73781" providerId="ADAL" clId="{585B98E4-AFD8-496E-8FF1-DE2EAF132870}" dt="2025-10-21T12:30:26.573" v="121"/>
          <ac:spMkLst>
            <pc:docMk/>
            <pc:sldMk cId="4230176811" sldId="2147475669"/>
            <ac:spMk id="12" creationId="{1DF9A338-1279-3F61-8C0D-E320EF45116B}"/>
          </ac:spMkLst>
        </pc:spChg>
        <pc:spChg chg="mod ord">
          <ac:chgData name="Kirsti Relling (NO)" userId="780b3b5b-540b-49a0-873b-f14864b73781" providerId="ADAL" clId="{585B98E4-AFD8-496E-8FF1-DE2EAF132870}" dt="2025-10-21T12:30:38.516" v="126" actId="948"/>
          <ac:spMkLst>
            <pc:docMk/>
            <pc:sldMk cId="4230176811" sldId="2147475669"/>
            <ac:spMk id="13" creationId="{1D81CDAD-C310-E65E-A467-09F80D56FFB4}"/>
          </ac:spMkLst>
        </pc:spChg>
        <pc:spChg chg="add del mod modVis">
          <ac:chgData name="Kirsti Relling (NO)" userId="780b3b5b-540b-49a0-873b-f14864b73781" providerId="ADAL" clId="{585B98E4-AFD8-496E-8FF1-DE2EAF132870}" dt="2025-10-21T12:30:38.532" v="147"/>
          <ac:spMkLst>
            <pc:docMk/>
            <pc:sldMk cId="4230176811" sldId="2147475669"/>
            <ac:spMk id="14" creationId="{4541859F-78F1-0109-15DE-8B3FFF1E7B72}"/>
          </ac:spMkLst>
        </pc:spChg>
        <pc:graphicFrameChg chg="mod">
          <ac:chgData name="Kirsti Relling (NO)" userId="780b3b5b-540b-49a0-873b-f14864b73781" providerId="ADAL" clId="{585B98E4-AFD8-496E-8FF1-DE2EAF132870}" dt="2025-10-21T12:30:38.532" v="149"/>
          <ac:graphicFrameMkLst>
            <pc:docMk/>
            <pc:sldMk cId="4230176811" sldId="2147475669"/>
            <ac:graphicFrameMk id="7" creationId="{22633B86-24DC-9BFE-44F7-5CCDFA4620C6}"/>
          </ac:graphicFrameMkLst>
        </pc:graphicFrameChg>
        <pc:picChg chg="mod ord">
          <ac:chgData name="Kirsti Relling (NO)" userId="780b3b5b-540b-49a0-873b-f14864b73781" providerId="ADAL" clId="{585B98E4-AFD8-496E-8FF1-DE2EAF132870}" dt="2025-10-21T12:30:41.618" v="151" actId="1076"/>
          <ac:picMkLst>
            <pc:docMk/>
            <pc:sldMk cId="4230176811" sldId="2147475669"/>
            <ac:picMk id="2" creationId="{9487858F-B274-6547-8EA4-6B7CAA098D76}"/>
          </ac:picMkLst>
        </pc:picChg>
      </pc:sldChg>
      <pc:sldChg chg="addSp delSp modSp add mod ord setBg">
        <pc:chgData name="Kirsti Relling (NO)" userId="780b3b5b-540b-49a0-873b-f14864b73781" providerId="ADAL" clId="{585B98E4-AFD8-496E-8FF1-DE2EAF132870}" dt="2025-10-21T12:40:53.239" v="305" actId="478"/>
        <pc:sldMkLst>
          <pc:docMk/>
          <pc:sldMk cId="2568298915" sldId="2147475670"/>
        </pc:sldMkLst>
        <pc:spChg chg="add mod">
          <ac:chgData name="Kirsti Relling (NO)" userId="780b3b5b-540b-49a0-873b-f14864b73781" providerId="ADAL" clId="{585B98E4-AFD8-496E-8FF1-DE2EAF132870}" dt="2025-10-21T12:34:42.650" v="179"/>
          <ac:spMkLst>
            <pc:docMk/>
            <pc:sldMk cId="2568298915" sldId="2147475670"/>
            <ac:spMk id="2" creationId="{6A507054-3339-2D70-54DE-21F30BF25CC3}"/>
          </ac:spMkLst>
        </pc:spChg>
        <pc:spChg chg="del">
          <ac:chgData name="Kirsti Relling (NO)" userId="780b3b5b-540b-49a0-873b-f14864b73781" providerId="ADAL" clId="{585B98E4-AFD8-496E-8FF1-DE2EAF132870}" dt="2025-10-21T12:40:53.239" v="305" actId="478"/>
          <ac:spMkLst>
            <pc:docMk/>
            <pc:sldMk cId="2568298915" sldId="2147475670"/>
            <ac:spMk id="3" creationId="{AB4F036E-C0C1-EDDD-0FB0-7308CBF23D15}"/>
          </ac:spMkLst>
        </pc:spChg>
        <pc:spChg chg="mod">
          <ac:chgData name="Kirsti Relling (NO)" userId="780b3b5b-540b-49a0-873b-f14864b73781" providerId="ADAL" clId="{585B98E4-AFD8-496E-8FF1-DE2EAF132870}" dt="2025-10-21T12:34:55.515" v="182" actId="1076"/>
          <ac:spMkLst>
            <pc:docMk/>
            <pc:sldMk cId="2568298915" sldId="2147475670"/>
            <ac:spMk id="6" creationId="{AED3F1BC-CDE3-E045-5F69-44ACF0A255C9}"/>
          </ac:spMkLst>
        </pc:spChg>
        <pc:spChg chg="add mod">
          <ac:chgData name="Kirsti Relling (NO)" userId="780b3b5b-540b-49a0-873b-f14864b73781" providerId="ADAL" clId="{585B98E4-AFD8-496E-8FF1-DE2EAF132870}" dt="2025-10-21T12:34:42.650" v="179"/>
          <ac:spMkLst>
            <pc:docMk/>
            <pc:sldMk cId="2568298915" sldId="2147475670"/>
            <ac:spMk id="10" creationId="{2E405124-1461-8D2D-2AD9-13611A47C198}"/>
          </ac:spMkLst>
        </pc:spChg>
        <pc:spChg chg="add mod">
          <ac:chgData name="Kirsti Relling (NO)" userId="780b3b5b-540b-49a0-873b-f14864b73781" providerId="ADAL" clId="{585B98E4-AFD8-496E-8FF1-DE2EAF132870}" dt="2025-10-21T12:34:42.650" v="179"/>
          <ac:spMkLst>
            <pc:docMk/>
            <pc:sldMk cId="2568298915" sldId="2147475670"/>
            <ac:spMk id="11" creationId="{72C21F73-19B8-B479-E406-B33F3641B0D3}"/>
          </ac:spMkLst>
        </pc:spChg>
        <pc:spChg chg="add mod">
          <ac:chgData name="Kirsti Relling (NO)" userId="780b3b5b-540b-49a0-873b-f14864b73781" providerId="ADAL" clId="{585B98E4-AFD8-496E-8FF1-DE2EAF132870}" dt="2025-10-21T12:34:56.034" v="183"/>
          <ac:spMkLst>
            <pc:docMk/>
            <pc:sldMk cId="2568298915" sldId="2147475670"/>
            <ac:spMk id="12" creationId="{B86DE0CA-2473-3EDC-524B-45B80416FB01}"/>
          </ac:spMkLst>
        </pc:spChg>
        <pc:spChg chg="add mod">
          <ac:chgData name="Kirsti Relling (NO)" userId="780b3b5b-540b-49a0-873b-f14864b73781" providerId="ADAL" clId="{585B98E4-AFD8-496E-8FF1-DE2EAF132870}" dt="2025-10-21T12:34:56.034" v="183"/>
          <ac:spMkLst>
            <pc:docMk/>
            <pc:sldMk cId="2568298915" sldId="2147475670"/>
            <ac:spMk id="13" creationId="{135C4A83-A10D-0477-11F6-4B3CFF68AC4A}"/>
          </ac:spMkLst>
        </pc:spChg>
        <pc:spChg chg="add mod">
          <ac:chgData name="Kirsti Relling (NO)" userId="780b3b5b-540b-49a0-873b-f14864b73781" providerId="ADAL" clId="{585B98E4-AFD8-496E-8FF1-DE2EAF132870}" dt="2025-10-21T12:34:56.034" v="183"/>
          <ac:spMkLst>
            <pc:docMk/>
            <pc:sldMk cId="2568298915" sldId="2147475670"/>
            <ac:spMk id="14" creationId="{6274B058-D956-58B3-F82B-86B94E32D27F}"/>
          </ac:spMkLst>
        </pc:spChg>
        <pc:spChg chg="add mod">
          <ac:chgData name="Kirsti Relling (NO)" userId="780b3b5b-540b-49a0-873b-f14864b73781" providerId="ADAL" clId="{585B98E4-AFD8-496E-8FF1-DE2EAF132870}" dt="2025-10-21T12:38:39.434" v="296" actId="207"/>
          <ac:spMkLst>
            <pc:docMk/>
            <pc:sldMk cId="2568298915" sldId="2147475670"/>
            <ac:spMk id="15" creationId="{6E4D4AB5-1EFC-68AF-D5BF-3AAED78E61B2}"/>
          </ac:spMkLst>
        </pc:spChg>
        <pc:spChg chg="add mod">
          <ac:chgData name="Kirsti Relling (NO)" userId="780b3b5b-540b-49a0-873b-f14864b73781" providerId="ADAL" clId="{585B98E4-AFD8-496E-8FF1-DE2EAF132870}" dt="2025-10-21T12:38:41.779" v="297" actId="207"/>
          <ac:spMkLst>
            <pc:docMk/>
            <pc:sldMk cId="2568298915" sldId="2147475670"/>
            <ac:spMk id="16" creationId="{90446E5B-3D93-C12C-C621-CA475B3F5092}"/>
          </ac:spMkLst>
        </pc:spChg>
        <pc:spChg chg="add mod">
          <ac:chgData name="Kirsti Relling (NO)" userId="780b3b5b-540b-49a0-873b-f14864b73781" providerId="ADAL" clId="{585B98E4-AFD8-496E-8FF1-DE2EAF132870}" dt="2025-10-21T12:38:43.606" v="298" actId="207"/>
          <ac:spMkLst>
            <pc:docMk/>
            <pc:sldMk cId="2568298915" sldId="2147475670"/>
            <ac:spMk id="17" creationId="{93BA6F2B-4EEB-586C-C2FA-4ECFF043F2B3}"/>
          </ac:spMkLst>
        </pc:spChg>
        <pc:picChg chg="add mod">
          <ac:chgData name="Kirsti Relling (NO)" userId="780b3b5b-540b-49a0-873b-f14864b73781" providerId="ADAL" clId="{585B98E4-AFD8-496E-8FF1-DE2EAF132870}" dt="2025-10-21T12:37:48.819" v="292" actId="1036"/>
          <ac:picMkLst>
            <pc:docMk/>
            <pc:sldMk cId="2568298915" sldId="2147475670"/>
            <ac:picMk id="18" creationId="{8B3EF122-FEF3-6986-4A8F-72B16B7A2164}"/>
          </ac:picMkLst>
        </pc:picChg>
        <pc:picChg chg="add mod">
          <ac:chgData name="Kirsti Relling (NO)" userId="780b3b5b-540b-49a0-873b-f14864b73781" providerId="ADAL" clId="{585B98E4-AFD8-496E-8FF1-DE2EAF132870}" dt="2025-10-21T12:37:32.477" v="247" actId="14100"/>
          <ac:picMkLst>
            <pc:docMk/>
            <pc:sldMk cId="2568298915" sldId="2147475670"/>
            <ac:picMk id="19" creationId="{6EF1A482-5473-C250-DBCD-8AD24D8A3504}"/>
          </ac:picMkLst>
        </pc:picChg>
        <pc:picChg chg="add mod">
          <ac:chgData name="Kirsti Relling (NO)" userId="780b3b5b-540b-49a0-873b-f14864b73781" providerId="ADAL" clId="{585B98E4-AFD8-496E-8FF1-DE2EAF132870}" dt="2025-10-21T12:37:27.950" v="246" actId="1037"/>
          <ac:picMkLst>
            <pc:docMk/>
            <pc:sldMk cId="2568298915" sldId="2147475670"/>
            <ac:picMk id="20" creationId="{0164EAF5-0083-6A16-6B0E-2D2302A23311}"/>
          </ac:picMkLst>
        </pc:picChg>
      </pc:sldChg>
      <pc:sldChg chg="addSp delSp modSp add del mod modClrScheme modShow chgLayout">
        <pc:chgData name="Kirsti Relling (NO)" userId="780b3b5b-540b-49a0-873b-f14864b73781" providerId="ADAL" clId="{585B98E4-AFD8-496E-8FF1-DE2EAF132870}" dt="2025-10-21T12:43:00.148" v="418" actId="47"/>
        <pc:sldMkLst>
          <pc:docMk/>
          <pc:sldMk cId="1136745965" sldId="2147475671"/>
        </pc:sldMkLst>
        <pc:spChg chg="mod ord">
          <ac:chgData name="Kirsti Relling (NO)" userId="780b3b5b-540b-49a0-873b-f14864b73781" providerId="ADAL" clId="{585B98E4-AFD8-496E-8FF1-DE2EAF132870}" dt="2025-10-21T12:42:51.599" v="390" actId="948"/>
          <ac:spMkLst>
            <pc:docMk/>
            <pc:sldMk cId="1136745965" sldId="2147475671"/>
            <ac:spMk id="2" creationId="{35C68CC7-8F23-2607-D980-AF101CA5AE8D}"/>
          </ac:spMkLst>
        </pc:spChg>
        <pc:spChg chg="add del mod ord">
          <ac:chgData name="Kirsti Relling (NO)" userId="780b3b5b-540b-49a0-873b-f14864b73781" providerId="ADAL" clId="{585B98E4-AFD8-496E-8FF1-DE2EAF132870}" dt="2025-10-21T12:42:34.263" v="360" actId="700"/>
          <ac:spMkLst>
            <pc:docMk/>
            <pc:sldMk cId="1136745965" sldId="2147475671"/>
            <ac:spMk id="3" creationId="{D607413D-1990-B6B0-9EAC-D5972EA93C51}"/>
          </ac:spMkLst>
        </pc:spChg>
        <pc:spChg chg="add del mod ord">
          <ac:chgData name="Kirsti Relling (NO)" userId="780b3b5b-540b-49a0-873b-f14864b73781" providerId="ADAL" clId="{585B98E4-AFD8-496E-8FF1-DE2EAF132870}" dt="2025-10-21T12:42:34.263" v="360" actId="700"/>
          <ac:spMkLst>
            <pc:docMk/>
            <pc:sldMk cId="1136745965" sldId="2147475671"/>
            <ac:spMk id="4" creationId="{A10788F5-544B-EBAF-481E-14B3A2EA50A5}"/>
          </ac:spMkLst>
        </pc:spChg>
        <pc:spChg chg="add del mod modVis">
          <ac:chgData name="Kirsti Relling (NO)" userId="780b3b5b-540b-49a0-873b-f14864b73781" providerId="ADAL" clId="{585B98E4-AFD8-496E-8FF1-DE2EAF132870}" dt="2025-10-21T12:41:37.896" v="354" actId="962"/>
          <ac:spMkLst>
            <pc:docMk/>
            <pc:sldMk cId="1136745965" sldId="2147475671"/>
            <ac:spMk id="5" creationId="{300DC79F-DE67-E9FB-495B-C2A56B55DC3E}"/>
          </ac:spMkLst>
        </pc:spChg>
        <pc:spChg chg="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6" creationId="{9A144838-089C-57DB-B60C-0CDC5D6B472C}"/>
          </ac:spMkLst>
        </pc:spChg>
        <pc:spChg chg="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7" creationId="{C88FB820-75A1-DDEE-2653-F078396EF730}"/>
          </ac:spMkLst>
        </pc:spChg>
        <pc:spChg chg="add del 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9" creationId="{385828C8-A2F4-6DDF-3F8E-AD0E05E78001}"/>
          </ac:spMkLst>
        </pc:spChg>
        <pc:spChg chg="add del 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10" creationId="{5A3B6031-4C99-E4EB-EB1D-790BA9690257}"/>
          </ac:spMkLst>
        </pc:spChg>
        <pc:spChg chg="add del mod modVis">
          <ac:chgData name="Kirsti Relling (NO)" userId="780b3b5b-540b-49a0-873b-f14864b73781" providerId="ADAL" clId="{585B98E4-AFD8-496E-8FF1-DE2EAF132870}" dt="2025-10-21T12:42:34.877" v="386"/>
          <ac:spMkLst>
            <pc:docMk/>
            <pc:sldMk cId="1136745965" sldId="2147475671"/>
            <ac:spMk id="11" creationId="{8E4F82C2-6410-F161-6358-9B401F27F493}"/>
          </ac:spMkLst>
        </pc:spChg>
        <pc:spChg chg="add 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12" creationId="{213B45E3-E91B-D279-C55B-71FD452741CC}"/>
          </ac:spMkLst>
        </pc:spChg>
        <pc:spChg chg="add 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14" creationId="{D90E83B9-99AC-5DDA-0324-CE31BC53820D}"/>
          </ac:spMkLst>
        </pc:spChg>
        <pc:spChg chg="add 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15" creationId="{061B3F3F-6BEB-BE1A-B257-79A823A3F9A1}"/>
          </ac:spMkLst>
        </pc:spChg>
        <pc:spChg chg="add mod ord">
          <ac:chgData name="Kirsti Relling (NO)" userId="780b3b5b-540b-49a0-873b-f14864b73781" providerId="ADAL" clId="{585B98E4-AFD8-496E-8FF1-DE2EAF132870}" dt="2025-10-21T12:42:50.972" v="389" actId="700"/>
          <ac:spMkLst>
            <pc:docMk/>
            <pc:sldMk cId="1136745965" sldId="2147475671"/>
            <ac:spMk id="16" creationId="{67CB27D0-FB25-0C5A-1045-FA9A3EC414CA}"/>
          </ac:spMkLst>
        </pc:spChg>
        <pc:spChg chg="add del mod modVis">
          <ac:chgData name="Kirsti Relling (NO)" userId="780b3b5b-540b-49a0-873b-f14864b73781" providerId="ADAL" clId="{585B98E4-AFD8-496E-8FF1-DE2EAF132870}" dt="2025-10-21T12:42:51.631" v="415"/>
          <ac:spMkLst>
            <pc:docMk/>
            <pc:sldMk cId="1136745965" sldId="2147475671"/>
            <ac:spMk id="17" creationId="{250E63C4-536E-613F-1FDA-669A4C9A3EFE}"/>
          </ac:spMkLst>
        </pc:spChg>
        <pc:graphicFrameChg chg="mod">
          <ac:chgData name="Kirsti Relling (NO)" userId="780b3b5b-540b-49a0-873b-f14864b73781" providerId="ADAL" clId="{585B98E4-AFD8-496E-8FF1-DE2EAF132870}" dt="2025-10-21T12:42:51.631" v="417"/>
          <ac:graphicFrameMkLst>
            <pc:docMk/>
            <pc:sldMk cId="1136745965" sldId="2147475671"/>
            <ac:graphicFrameMk id="8" creationId="{3A44C384-8056-CEEB-2CD5-C314277DF4D1}"/>
          </ac:graphicFrameMkLst>
        </pc:graphicFrameChg>
      </pc:sldChg>
      <pc:sldChg chg="addSp delSp modSp new del mod modClrScheme chgLayout">
        <pc:chgData name="Kirsti Relling (NO)" userId="780b3b5b-540b-49a0-873b-f14864b73781" providerId="ADAL" clId="{585B98E4-AFD8-496E-8FF1-DE2EAF132870}" dt="2025-10-21T12:45:14.787" v="467" actId="47"/>
        <pc:sldMkLst>
          <pc:docMk/>
          <pc:sldMk cId="2657481187" sldId="2147475671"/>
        </pc:sldMkLst>
        <pc:spChg chg="del mod ord">
          <ac:chgData name="Kirsti Relling (NO)" userId="780b3b5b-540b-49a0-873b-f14864b73781" providerId="ADAL" clId="{585B98E4-AFD8-496E-8FF1-DE2EAF132870}" dt="2025-10-21T12:44:13.163" v="422" actId="700"/>
          <ac:spMkLst>
            <pc:docMk/>
            <pc:sldMk cId="2657481187" sldId="2147475671"/>
            <ac:spMk id="2" creationId="{8E0E7EFC-91DC-778A-1224-7D8EF836DE26}"/>
          </ac:spMkLst>
        </pc:spChg>
        <pc:spChg chg="del mod ord">
          <ac:chgData name="Kirsti Relling (NO)" userId="780b3b5b-540b-49a0-873b-f14864b73781" providerId="ADAL" clId="{585B98E4-AFD8-496E-8FF1-DE2EAF132870}" dt="2025-10-21T12:44:13.163" v="422" actId="700"/>
          <ac:spMkLst>
            <pc:docMk/>
            <pc:sldMk cId="2657481187" sldId="2147475671"/>
            <ac:spMk id="3" creationId="{1D5BB5C6-129E-F454-4859-4D50E989037F}"/>
          </ac:spMkLst>
        </pc:spChg>
        <pc:spChg chg="del mod ord">
          <ac:chgData name="Kirsti Relling (NO)" userId="780b3b5b-540b-49a0-873b-f14864b73781" providerId="ADAL" clId="{585B98E4-AFD8-496E-8FF1-DE2EAF132870}" dt="2025-10-21T12:44:13.163" v="422" actId="700"/>
          <ac:spMkLst>
            <pc:docMk/>
            <pc:sldMk cId="2657481187" sldId="2147475671"/>
            <ac:spMk id="4" creationId="{92109764-2435-BDA4-6D40-C54C6D893D02}"/>
          </ac:spMkLst>
        </pc:spChg>
        <pc:spChg chg="del mod ord">
          <ac:chgData name="Kirsti Relling (NO)" userId="780b3b5b-540b-49a0-873b-f14864b73781" providerId="ADAL" clId="{585B98E4-AFD8-496E-8FF1-DE2EAF132870}" dt="2025-10-21T12:44:13.163" v="422" actId="700"/>
          <ac:spMkLst>
            <pc:docMk/>
            <pc:sldMk cId="2657481187" sldId="2147475671"/>
            <ac:spMk id="5" creationId="{271074F4-481C-AB74-1C4A-BE870D4ADAFF}"/>
          </ac:spMkLst>
        </pc:spChg>
        <pc:spChg chg="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6" creationId="{F81504B2-269D-799B-1415-1AB0B0B8A497}"/>
          </ac:spMkLst>
        </pc:spChg>
        <pc:spChg chg="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7" creationId="{644E4601-AC26-08D1-CF51-B1DEDBFCC768}"/>
          </ac:spMkLst>
        </pc:spChg>
        <pc:spChg chg="add del 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8" creationId="{D53EBCD0-C10F-2EDD-D66C-B4DE029308ED}"/>
          </ac:spMkLst>
        </pc:spChg>
        <pc:spChg chg="add del 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9" creationId="{E7084244-E98E-EEE1-3DF8-90183831C8A6}"/>
          </ac:spMkLst>
        </pc:spChg>
        <pc:spChg chg="add del 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10" creationId="{83534A79-9098-13D3-0124-46FCA7261E3B}"/>
          </ac:spMkLst>
        </pc:spChg>
        <pc:spChg chg="add del 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11" creationId="{89E77961-0B3B-A184-A1FB-BD0CBCC2D332}"/>
          </ac:spMkLst>
        </pc:spChg>
        <pc:spChg chg="del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12" creationId="{D0C6C271-F05D-6D2C-979A-C58834235912}"/>
          </ac:spMkLst>
        </pc:spChg>
        <pc:spChg chg="add mod ord">
          <ac:chgData name="Kirsti Relling (NO)" userId="780b3b5b-540b-49a0-873b-f14864b73781" providerId="ADAL" clId="{585B98E4-AFD8-496E-8FF1-DE2EAF132870}" dt="2025-10-21T12:44:41.907" v="446" actId="700"/>
          <ac:spMkLst>
            <pc:docMk/>
            <pc:sldMk cId="2657481187" sldId="2147475671"/>
            <ac:spMk id="16" creationId="{DEE68AA9-C8B3-3B22-BAEC-5B138F262D3E}"/>
          </ac:spMkLst>
        </pc:spChg>
        <pc:spChg chg="add del mod ord">
          <ac:chgData name="Kirsti Relling (NO)" userId="780b3b5b-540b-49a0-873b-f14864b73781" providerId="ADAL" clId="{585B98E4-AFD8-496E-8FF1-DE2EAF132870}" dt="2025-10-21T12:44:49.872" v="461" actId="931"/>
          <ac:spMkLst>
            <pc:docMk/>
            <pc:sldMk cId="2657481187" sldId="2147475671"/>
            <ac:spMk id="17" creationId="{D901811C-C17B-ED65-74CF-648694D17755}"/>
          </ac:spMkLst>
        </pc:spChg>
        <pc:spChg chg="add del mod ord">
          <ac:chgData name="Kirsti Relling (NO)" userId="780b3b5b-540b-49a0-873b-f14864b73781" providerId="ADAL" clId="{585B98E4-AFD8-496E-8FF1-DE2EAF132870}" dt="2025-10-21T12:45:05.813" v="464" actId="931"/>
          <ac:spMkLst>
            <pc:docMk/>
            <pc:sldMk cId="2657481187" sldId="2147475671"/>
            <ac:spMk id="18" creationId="{B0A0012D-469F-489C-66E8-C73C84AFF36A}"/>
          </ac:spMkLst>
        </pc:spChg>
        <pc:graphicFrameChg chg="add mod ord modVis">
          <ac:chgData name="Kirsti Relling (NO)" userId="780b3b5b-540b-49a0-873b-f14864b73781" providerId="ADAL" clId="{585B98E4-AFD8-496E-8FF1-DE2EAF132870}" dt="2025-10-21T12:44:28.611" v="445"/>
          <ac:graphicFrameMkLst>
            <pc:docMk/>
            <pc:sldMk cId="2657481187" sldId="2147475671"/>
            <ac:graphicFrameMk id="13" creationId="{793F9FCA-56F5-1F17-9B9F-ED6312136B1B}"/>
          </ac:graphicFrameMkLst>
        </pc:graphicFrameChg>
        <pc:graphicFrameChg chg="add mod ord modVis">
          <ac:chgData name="Kirsti Relling (NO)" userId="780b3b5b-540b-49a0-873b-f14864b73781" providerId="ADAL" clId="{585B98E4-AFD8-496E-8FF1-DE2EAF132870}" dt="2025-10-21T12:44:42.517" v="460"/>
          <ac:graphicFrameMkLst>
            <pc:docMk/>
            <pc:sldMk cId="2657481187" sldId="2147475671"/>
            <ac:graphicFrameMk id="19" creationId="{9E48FCA8-564B-5B24-0760-0538D17E103E}"/>
          </ac:graphicFrameMkLst>
        </pc:graphicFrameChg>
        <pc:picChg chg="add mod">
          <ac:chgData name="Kirsti Relling (NO)" userId="780b3b5b-540b-49a0-873b-f14864b73781" providerId="ADAL" clId="{585B98E4-AFD8-496E-8FF1-DE2EAF132870}" dt="2025-10-21T12:44:27.959" v="438" actId="931"/>
          <ac:picMkLst>
            <pc:docMk/>
            <pc:sldMk cId="2657481187" sldId="2147475671"/>
            <ac:picMk id="15" creationId="{BD1012DD-2441-9EFA-409F-9D2B6BC09A67}"/>
          </ac:picMkLst>
        </pc:picChg>
        <pc:picChg chg="add mod">
          <ac:chgData name="Kirsti Relling (NO)" userId="780b3b5b-540b-49a0-873b-f14864b73781" providerId="ADAL" clId="{585B98E4-AFD8-496E-8FF1-DE2EAF132870}" dt="2025-10-21T12:45:12.381" v="466" actId="962"/>
          <ac:picMkLst>
            <pc:docMk/>
            <pc:sldMk cId="2657481187" sldId="2147475671"/>
            <ac:picMk id="21" creationId="{4766C03A-A6E5-B738-4AC7-E3FDF942F313}"/>
          </ac:picMkLst>
        </pc:picChg>
        <pc:picChg chg="add mod">
          <ac:chgData name="Kirsti Relling (NO)" userId="780b3b5b-540b-49a0-873b-f14864b73781" providerId="ADAL" clId="{585B98E4-AFD8-496E-8FF1-DE2EAF132870}" dt="2025-10-21T12:45:12.381" v="465" actId="27614"/>
          <ac:picMkLst>
            <pc:docMk/>
            <pc:sldMk cId="2657481187" sldId="2147475671"/>
            <ac:picMk id="23" creationId="{B905CF64-833F-83AA-D0DE-C0042F5D5999}"/>
          </ac:picMkLst>
        </pc:picChg>
      </pc:sldChg>
      <pc:sldChg chg="add del">
        <pc:chgData name="Kirsti Relling (NO)" userId="780b3b5b-540b-49a0-873b-f14864b73781" providerId="ADAL" clId="{585B98E4-AFD8-496E-8FF1-DE2EAF132870}" dt="2025-10-21T12:43:58.267" v="420" actId="2890"/>
        <pc:sldMkLst>
          <pc:docMk/>
          <pc:sldMk cId="4005851763" sldId="2147475671"/>
        </pc:sldMkLst>
      </pc:sldChg>
      <pc:sldChg chg="del">
        <pc:chgData name="Kirsti Relling (NO)" userId="780b3b5b-540b-49a0-873b-f14864b73781" providerId="ADAL" clId="{585B98E4-AFD8-496E-8FF1-DE2EAF132870}" dt="2025-10-22T03:35:12.118" v="478" actId="47"/>
        <pc:sldMkLst>
          <pc:docMk/>
          <pc:sldMk cId="4264466763" sldId="2147475671"/>
        </pc:sldMkLst>
      </pc:sldChg>
      <pc:sldChg chg="addSp delSp modSp add del mod modClrScheme chgLayout">
        <pc:chgData name="Kirsti Relling (NO)" userId="780b3b5b-540b-49a0-873b-f14864b73781" providerId="ADAL" clId="{585B98E4-AFD8-496E-8FF1-DE2EAF132870}" dt="2025-10-22T03:43:53.498" v="573" actId="47"/>
        <pc:sldMkLst>
          <pc:docMk/>
          <pc:sldMk cId="1187438864" sldId="2147475673"/>
        </pc:sldMkLst>
        <pc:spChg chg="add mod ord">
          <ac:chgData name="Kirsti Relling (NO)" userId="780b3b5b-540b-49a0-873b-f14864b73781" providerId="ADAL" clId="{585B98E4-AFD8-496E-8FF1-DE2EAF132870}" dt="2025-10-22T03:42:24.576" v="509" actId="948"/>
          <ac:spMkLst>
            <pc:docMk/>
            <pc:sldMk cId="1187438864" sldId="2147475673"/>
            <ac:spMk id="2" creationId="{F287061C-53EE-3C12-0776-2DCA44B780B3}"/>
          </ac:spMkLst>
        </pc:spChg>
        <pc:spChg chg="add del mod ord">
          <ac:chgData name="Kirsti Relling (NO)" userId="780b3b5b-540b-49a0-873b-f14864b73781" providerId="ADAL" clId="{585B98E4-AFD8-496E-8FF1-DE2EAF132870}" dt="2025-10-22T03:42:27.947" v="533" actId="478"/>
          <ac:spMkLst>
            <pc:docMk/>
            <pc:sldMk cId="1187438864" sldId="2147475673"/>
            <ac:spMk id="3" creationId="{FF286EC0-CDF4-0783-3687-9FC120AB8007}"/>
          </ac:spMkLst>
        </pc:spChg>
        <pc:spChg chg="add del mod modVis">
          <ac:chgData name="Kirsti Relling (NO)" userId="780b3b5b-540b-49a0-873b-f14864b73781" providerId="ADAL" clId="{585B98E4-AFD8-496E-8FF1-DE2EAF132870}" dt="2025-10-22T03:42:24.597" v="530"/>
          <ac:spMkLst>
            <pc:docMk/>
            <pc:sldMk cId="1187438864" sldId="2147475673"/>
            <ac:spMk id="4" creationId="{B62E3FB3-61DA-5174-AE58-4762523B11AA}"/>
          </ac:spMkLst>
        </pc:spChg>
        <pc:spChg chg="mod ord">
          <ac:chgData name="Kirsti Relling (NO)" userId="780b3b5b-540b-49a0-873b-f14864b73781" providerId="ADAL" clId="{585B98E4-AFD8-496E-8FF1-DE2EAF132870}" dt="2025-10-22T03:42:13.905" v="503" actId="700"/>
          <ac:spMkLst>
            <pc:docMk/>
            <pc:sldMk cId="1187438864" sldId="2147475673"/>
            <ac:spMk id="7" creationId="{BC4851C8-FF65-BB50-BD84-3D55A0FD0F7D}"/>
          </ac:spMkLst>
        </pc:spChg>
        <pc:spChg chg="mod">
          <ac:chgData name="Kirsti Relling (NO)" userId="780b3b5b-540b-49a0-873b-f14864b73781" providerId="ADAL" clId="{585B98E4-AFD8-496E-8FF1-DE2EAF132870}" dt="2025-10-22T03:42:50.613" v="537" actId="1076"/>
          <ac:spMkLst>
            <pc:docMk/>
            <pc:sldMk cId="1187438864" sldId="2147475673"/>
            <ac:spMk id="11" creationId="{4FA9E2CE-76B9-3983-BBE8-0783D79F0199}"/>
          </ac:spMkLst>
        </pc:spChg>
        <pc:spChg chg="mod">
          <ac:chgData name="Kirsti Relling (NO)" userId="780b3b5b-540b-49a0-873b-f14864b73781" providerId="ADAL" clId="{585B98E4-AFD8-496E-8FF1-DE2EAF132870}" dt="2025-10-22T03:43:02.262" v="540" actId="6549"/>
          <ac:spMkLst>
            <pc:docMk/>
            <pc:sldMk cId="1187438864" sldId="2147475673"/>
            <ac:spMk id="33" creationId="{8917BE5B-C66A-E97D-369D-0D6BC23EC8A2}"/>
          </ac:spMkLst>
        </pc:spChg>
        <pc:spChg chg="del">
          <ac:chgData name="Kirsti Relling (NO)" userId="780b3b5b-540b-49a0-873b-f14864b73781" providerId="ADAL" clId="{585B98E4-AFD8-496E-8FF1-DE2EAF132870}" dt="2025-10-22T03:42:58.242" v="538" actId="478"/>
          <ac:spMkLst>
            <pc:docMk/>
            <pc:sldMk cId="1187438864" sldId="2147475673"/>
            <ac:spMk id="34" creationId="{22ADDCFF-9D49-0A7B-935C-6D0C6CB7270B}"/>
          </ac:spMkLst>
        </pc:spChg>
        <pc:spChg chg="del">
          <ac:chgData name="Kirsti Relling (NO)" userId="780b3b5b-540b-49a0-873b-f14864b73781" providerId="ADAL" clId="{585B98E4-AFD8-496E-8FF1-DE2EAF132870}" dt="2025-10-22T03:42:58.242" v="538" actId="478"/>
          <ac:spMkLst>
            <pc:docMk/>
            <pc:sldMk cId="1187438864" sldId="2147475673"/>
            <ac:spMk id="37" creationId="{874071A3-5C5D-6D35-DC0D-3D0EC02540F4}"/>
          </ac:spMkLst>
        </pc:spChg>
        <pc:spChg chg="del">
          <ac:chgData name="Kirsti Relling (NO)" userId="780b3b5b-540b-49a0-873b-f14864b73781" providerId="ADAL" clId="{585B98E4-AFD8-496E-8FF1-DE2EAF132870}" dt="2025-10-22T03:42:58.242" v="538" actId="478"/>
          <ac:spMkLst>
            <pc:docMk/>
            <pc:sldMk cId="1187438864" sldId="2147475673"/>
            <ac:spMk id="38" creationId="{F9139FDC-EEC4-E100-62D8-E5789E9BDD6F}"/>
          </ac:spMkLst>
        </pc:spChg>
        <pc:spChg chg="del">
          <ac:chgData name="Kirsti Relling (NO)" userId="780b3b5b-540b-49a0-873b-f14864b73781" providerId="ADAL" clId="{585B98E4-AFD8-496E-8FF1-DE2EAF132870}" dt="2025-10-22T03:42:58.242" v="538" actId="478"/>
          <ac:spMkLst>
            <pc:docMk/>
            <pc:sldMk cId="1187438864" sldId="2147475673"/>
            <ac:spMk id="39" creationId="{C66C4BA0-A627-47E7-39BA-97A6EFD0CD24}"/>
          </ac:spMkLst>
        </pc:spChg>
        <pc:spChg chg="del">
          <ac:chgData name="Kirsti Relling (NO)" userId="780b3b5b-540b-49a0-873b-f14864b73781" providerId="ADAL" clId="{585B98E4-AFD8-496E-8FF1-DE2EAF132870}" dt="2025-10-22T03:42:58.242" v="538" actId="478"/>
          <ac:spMkLst>
            <pc:docMk/>
            <pc:sldMk cId="1187438864" sldId="2147475673"/>
            <ac:spMk id="40" creationId="{F6465B68-62C6-20B8-6C8F-84765E28E89B}"/>
          </ac:spMkLst>
        </pc:spChg>
        <pc:spChg chg="del mod ord">
          <ac:chgData name="Kirsti Relling (NO)" userId="780b3b5b-540b-49a0-873b-f14864b73781" providerId="ADAL" clId="{585B98E4-AFD8-496E-8FF1-DE2EAF132870}" dt="2025-10-22T03:42:13.905" v="503" actId="700"/>
          <ac:spMkLst>
            <pc:docMk/>
            <pc:sldMk cId="1187438864" sldId="2147475673"/>
            <ac:spMk id="41" creationId="{CD1A71A1-4C1B-23CA-8FD8-C76A036D44BC}"/>
          </ac:spMkLst>
        </pc:spChg>
        <pc:spChg chg="del mod ord">
          <ac:chgData name="Kirsti Relling (NO)" userId="780b3b5b-540b-49a0-873b-f14864b73781" providerId="ADAL" clId="{585B98E4-AFD8-496E-8FF1-DE2EAF132870}" dt="2025-10-22T03:42:22.362" v="507" actId="478"/>
          <ac:spMkLst>
            <pc:docMk/>
            <pc:sldMk cId="1187438864" sldId="2147475673"/>
            <ac:spMk id="42" creationId="{16A6B141-50A5-6A3B-4E63-F44B616276C9}"/>
          </ac:spMkLst>
        </pc:spChg>
        <pc:grpChg chg="del mod">
          <ac:chgData name="Kirsti Relling (NO)" userId="780b3b5b-540b-49a0-873b-f14864b73781" providerId="ADAL" clId="{585B98E4-AFD8-496E-8FF1-DE2EAF132870}" dt="2025-10-22T03:43:00.239" v="539" actId="478"/>
          <ac:grpSpMkLst>
            <pc:docMk/>
            <pc:sldMk cId="1187438864" sldId="2147475673"/>
            <ac:grpSpMk id="12" creationId="{DF49DF21-FB55-06F5-EE7E-836F3C48926C}"/>
          </ac:grpSpMkLst>
        </pc:grpChg>
        <pc:graphicFrameChg chg="mod">
          <ac:chgData name="Kirsti Relling (NO)" userId="780b3b5b-540b-49a0-873b-f14864b73781" providerId="ADAL" clId="{585B98E4-AFD8-496E-8FF1-DE2EAF132870}" dt="2025-10-22T03:42:24.597" v="532"/>
          <ac:graphicFrameMkLst>
            <pc:docMk/>
            <pc:sldMk cId="1187438864" sldId="2147475673"/>
            <ac:graphicFrameMk id="44" creationId="{D7E41F15-7B19-E3AB-F9CE-51BE4D8FACC5}"/>
          </ac:graphicFrameMkLst>
        </pc:graphicFrameChg>
      </pc:sldChg>
    </pc:docChg>
  </pc:docChgLst>
  <pc:docChgLst>
    <pc:chgData name="Frode Singstad (NO)" userId="6e7333a6-999f-49b0-9714-e1a4f457baf0" providerId="ADAL" clId="{46661E0C-1B95-40C6-B60E-F35416AC14D5}"/>
    <pc:docChg chg="undo custSel addSld delSld modSld sldOrd">
      <pc:chgData name="Frode Singstad (NO)" userId="6e7333a6-999f-49b0-9714-e1a4f457baf0" providerId="ADAL" clId="{46661E0C-1B95-40C6-B60E-F35416AC14D5}" dt="2025-10-23T08:06:31.087" v="3295" actId="732"/>
      <pc:docMkLst>
        <pc:docMk/>
      </pc:docMkLst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191504360" sldId="25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962317385" sldId="26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674337301" sldId="26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289197526" sldId="27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978364979" sldId="27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278847432" sldId="27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452254951" sldId="27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020284590" sldId="27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637844583" sldId="28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966320778" sldId="28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599294442" sldId="28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434269052" sldId="29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864431889" sldId="29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412308804" sldId="30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4656724" sldId="30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054459569" sldId="304"/>
        </pc:sldMkLst>
      </pc:sldChg>
      <pc:sldChg chg="addSp delSp modSp mod">
        <pc:chgData name="Frode Singstad (NO)" userId="6e7333a6-999f-49b0-9714-e1a4f457baf0" providerId="ADAL" clId="{46661E0C-1B95-40C6-B60E-F35416AC14D5}" dt="2025-10-22T18:26:07.068" v="3235"/>
        <pc:sldMkLst>
          <pc:docMk/>
          <pc:sldMk cId="2714884229" sldId="305"/>
        </pc:sldMkLst>
        <pc:spChg chg="add del mod">
          <ac:chgData name="Frode Singstad (NO)" userId="6e7333a6-999f-49b0-9714-e1a4f457baf0" providerId="ADAL" clId="{46661E0C-1B95-40C6-B60E-F35416AC14D5}" dt="2025-10-22T18:01:26.948" v="2453" actId="478"/>
          <ac:spMkLst>
            <pc:docMk/>
            <pc:sldMk cId="2714884229" sldId="305"/>
            <ac:spMk id="2" creationId="{1F2739FA-0A7F-2D50-87A3-F39608273D74}"/>
          </ac:spMkLst>
        </pc:spChg>
        <pc:spChg chg="add del mod modVis">
          <ac:chgData name="Frode Singstad (NO)" userId="6e7333a6-999f-49b0-9714-e1a4f457baf0" providerId="ADAL" clId="{46661E0C-1B95-40C6-B60E-F35416AC14D5}" dt="2025-10-22T18:01:52.639" v="2479"/>
          <ac:spMkLst>
            <pc:docMk/>
            <pc:sldMk cId="2714884229" sldId="305"/>
            <ac:spMk id="4" creationId="{D3250A17-BC91-D6DE-F618-D0FA9EF37954}"/>
          </ac:spMkLst>
        </pc:spChg>
        <pc:spChg chg="add del mod modVis">
          <ac:chgData name="Frode Singstad (NO)" userId="6e7333a6-999f-49b0-9714-e1a4f457baf0" providerId="ADAL" clId="{46661E0C-1B95-40C6-B60E-F35416AC14D5}" dt="2025-10-22T18:01:57.147" v="2510"/>
          <ac:spMkLst>
            <pc:docMk/>
            <pc:sldMk cId="2714884229" sldId="305"/>
            <ac:spMk id="6" creationId="{B8CF4B8B-3AED-2D6F-806C-A8DD079C9292}"/>
          </ac:spMkLst>
        </pc:spChg>
        <pc:spChg chg="mod">
          <ac:chgData name="Frode Singstad (NO)" userId="6e7333a6-999f-49b0-9714-e1a4f457baf0" providerId="ADAL" clId="{46661E0C-1B95-40C6-B60E-F35416AC14D5}" dt="2025-10-22T18:26:07.052" v="3206" actId="948"/>
          <ac:spMkLst>
            <pc:docMk/>
            <pc:sldMk cId="2714884229" sldId="305"/>
            <ac:spMk id="7" creationId="{189581F2-593A-89D6-A13D-D744F359C156}"/>
          </ac:spMkLst>
        </pc:spChg>
        <pc:spChg chg="add del mod modVis">
          <ac:chgData name="Frode Singstad (NO)" userId="6e7333a6-999f-49b0-9714-e1a4f457baf0" providerId="ADAL" clId="{46661E0C-1B95-40C6-B60E-F35416AC14D5}" dt="2025-10-22T18:02:03.961" v="2550"/>
          <ac:spMkLst>
            <pc:docMk/>
            <pc:sldMk cId="2714884229" sldId="305"/>
            <ac:spMk id="8" creationId="{969371B8-4046-EDB6-A8D1-7A942FB57BB2}"/>
          </ac:spMkLst>
        </pc:spChg>
        <pc:spChg chg="add del mod modVis">
          <ac:chgData name="Frode Singstad (NO)" userId="6e7333a6-999f-49b0-9714-e1a4f457baf0" providerId="ADAL" clId="{46661E0C-1B95-40C6-B60E-F35416AC14D5}" dt="2025-10-22T18:02:06.562" v="2595"/>
          <ac:spMkLst>
            <pc:docMk/>
            <pc:sldMk cId="2714884229" sldId="305"/>
            <ac:spMk id="9" creationId="{DA3B5840-6F08-073D-07DB-C65507AE6BDA}"/>
          </ac:spMkLst>
        </pc:spChg>
        <pc:spChg chg="add del mod modVis">
          <ac:chgData name="Frode Singstad (NO)" userId="6e7333a6-999f-49b0-9714-e1a4f457baf0" providerId="ADAL" clId="{46661E0C-1B95-40C6-B60E-F35416AC14D5}" dt="2025-10-22T18:02:10.878" v="2626"/>
          <ac:spMkLst>
            <pc:docMk/>
            <pc:sldMk cId="2714884229" sldId="305"/>
            <ac:spMk id="10" creationId="{C0068669-1BF0-9F25-4217-08762FFB77B0}"/>
          </ac:spMkLst>
        </pc:spChg>
        <pc:spChg chg="add del mod modVis">
          <ac:chgData name="Frode Singstad (NO)" userId="6e7333a6-999f-49b0-9714-e1a4f457baf0" providerId="ADAL" clId="{46661E0C-1B95-40C6-B60E-F35416AC14D5}" dt="2025-10-22T18:02:13.832" v="2657"/>
          <ac:spMkLst>
            <pc:docMk/>
            <pc:sldMk cId="2714884229" sldId="305"/>
            <ac:spMk id="11" creationId="{30008EBE-68CA-157F-88FB-AFC2F883EB02}"/>
          </ac:spMkLst>
        </pc:spChg>
        <pc:spChg chg="add del mod modVis">
          <ac:chgData name="Frode Singstad (NO)" userId="6e7333a6-999f-49b0-9714-e1a4f457baf0" providerId="ADAL" clId="{46661E0C-1B95-40C6-B60E-F35416AC14D5}" dt="2025-10-22T18:02:17.333" v="2688"/>
          <ac:spMkLst>
            <pc:docMk/>
            <pc:sldMk cId="2714884229" sldId="305"/>
            <ac:spMk id="12" creationId="{BA106184-6F01-A337-7E2D-FAE444DB5A86}"/>
          </ac:spMkLst>
        </pc:spChg>
        <pc:spChg chg="add del mod modVis">
          <ac:chgData name="Frode Singstad (NO)" userId="6e7333a6-999f-49b0-9714-e1a4f457baf0" providerId="ADAL" clId="{46661E0C-1B95-40C6-B60E-F35416AC14D5}" dt="2025-10-22T18:02:19.270" v="2719"/>
          <ac:spMkLst>
            <pc:docMk/>
            <pc:sldMk cId="2714884229" sldId="305"/>
            <ac:spMk id="13" creationId="{0A2E0106-0CF0-4156-EAAA-8191E1CF93D0}"/>
          </ac:spMkLst>
        </pc:spChg>
        <pc:spChg chg="add del mod modVis">
          <ac:chgData name="Frode Singstad (NO)" userId="6e7333a6-999f-49b0-9714-e1a4f457baf0" providerId="ADAL" clId="{46661E0C-1B95-40C6-B60E-F35416AC14D5}" dt="2025-10-22T18:22:02.918" v="2750"/>
          <ac:spMkLst>
            <pc:docMk/>
            <pc:sldMk cId="2714884229" sldId="305"/>
            <ac:spMk id="14" creationId="{8C4A5A2A-62AA-4A89-0B92-D9FAEC708101}"/>
          </ac:spMkLst>
        </pc:spChg>
        <pc:spChg chg="add del mod modVis">
          <ac:chgData name="Frode Singstad (NO)" userId="6e7333a6-999f-49b0-9714-e1a4f457baf0" providerId="ADAL" clId="{46661E0C-1B95-40C6-B60E-F35416AC14D5}" dt="2025-10-22T18:22:08.455" v="2782"/>
          <ac:spMkLst>
            <pc:docMk/>
            <pc:sldMk cId="2714884229" sldId="305"/>
            <ac:spMk id="15" creationId="{DCD77DF8-923A-416C-50D7-0A5F02838F12}"/>
          </ac:spMkLst>
        </pc:spChg>
        <pc:spChg chg="add del mod modVis">
          <ac:chgData name="Frode Singstad (NO)" userId="6e7333a6-999f-49b0-9714-e1a4f457baf0" providerId="ADAL" clId="{46661E0C-1B95-40C6-B60E-F35416AC14D5}" dt="2025-10-22T18:22:09.638" v="2816"/>
          <ac:spMkLst>
            <pc:docMk/>
            <pc:sldMk cId="2714884229" sldId="305"/>
            <ac:spMk id="16" creationId="{8D51A45A-021B-3FA1-5FCF-12BE22B8193A}"/>
          </ac:spMkLst>
        </pc:spChg>
        <pc:spChg chg="add del mod modVis">
          <ac:chgData name="Frode Singstad (NO)" userId="6e7333a6-999f-49b0-9714-e1a4f457baf0" providerId="ADAL" clId="{46661E0C-1B95-40C6-B60E-F35416AC14D5}" dt="2025-10-22T18:22:10.727" v="2849"/>
          <ac:spMkLst>
            <pc:docMk/>
            <pc:sldMk cId="2714884229" sldId="305"/>
            <ac:spMk id="17" creationId="{BA4E5C46-780B-454E-1730-E8476A9D84A1}"/>
          </ac:spMkLst>
        </pc:spChg>
        <pc:spChg chg="add del mod modVis">
          <ac:chgData name="Frode Singstad (NO)" userId="6e7333a6-999f-49b0-9714-e1a4f457baf0" providerId="ADAL" clId="{46661E0C-1B95-40C6-B60E-F35416AC14D5}" dt="2025-10-22T18:22:11.594" v="2880"/>
          <ac:spMkLst>
            <pc:docMk/>
            <pc:sldMk cId="2714884229" sldId="305"/>
            <ac:spMk id="18" creationId="{A0CC1B8C-B7BF-7810-21E0-228381CAC650}"/>
          </ac:spMkLst>
        </pc:spChg>
        <pc:spChg chg="add del mod modVis">
          <ac:chgData name="Frode Singstad (NO)" userId="6e7333a6-999f-49b0-9714-e1a4f457baf0" providerId="ADAL" clId="{46661E0C-1B95-40C6-B60E-F35416AC14D5}" dt="2025-10-22T18:22:12.414" v="2911"/>
          <ac:spMkLst>
            <pc:docMk/>
            <pc:sldMk cId="2714884229" sldId="305"/>
            <ac:spMk id="19" creationId="{C0429D7B-4455-F624-A6D2-6F5B49EBD7CF}"/>
          </ac:spMkLst>
        </pc:spChg>
        <pc:spChg chg="add del mod modVis">
          <ac:chgData name="Frode Singstad (NO)" userId="6e7333a6-999f-49b0-9714-e1a4f457baf0" providerId="ADAL" clId="{46661E0C-1B95-40C6-B60E-F35416AC14D5}" dt="2025-10-22T18:22:15.124" v="2942"/>
          <ac:spMkLst>
            <pc:docMk/>
            <pc:sldMk cId="2714884229" sldId="305"/>
            <ac:spMk id="20" creationId="{6B02B76E-D191-883E-2CED-4D2CD6ED5873}"/>
          </ac:spMkLst>
        </pc:spChg>
        <pc:spChg chg="add del mod modVis">
          <ac:chgData name="Frode Singstad (NO)" userId="6e7333a6-999f-49b0-9714-e1a4f457baf0" providerId="ADAL" clId="{46661E0C-1B95-40C6-B60E-F35416AC14D5}" dt="2025-10-22T18:22:16.701" v="2973"/>
          <ac:spMkLst>
            <pc:docMk/>
            <pc:sldMk cId="2714884229" sldId="305"/>
            <ac:spMk id="21" creationId="{95839C3F-24EE-0F75-D3FA-5B16674C7456}"/>
          </ac:spMkLst>
        </pc:spChg>
        <pc:spChg chg="add del mod modVis">
          <ac:chgData name="Frode Singstad (NO)" userId="6e7333a6-999f-49b0-9714-e1a4f457baf0" providerId="ADAL" clId="{46661E0C-1B95-40C6-B60E-F35416AC14D5}" dt="2025-10-22T18:25:47.611" v="3013"/>
          <ac:spMkLst>
            <pc:docMk/>
            <pc:sldMk cId="2714884229" sldId="305"/>
            <ac:spMk id="24" creationId="{E9FD9521-5F56-E0C1-DC4B-409A9EEADA90}"/>
          </ac:spMkLst>
        </pc:spChg>
        <pc:spChg chg="add del mod modVis">
          <ac:chgData name="Frode Singstad (NO)" userId="6e7333a6-999f-49b0-9714-e1a4f457baf0" providerId="ADAL" clId="{46661E0C-1B95-40C6-B60E-F35416AC14D5}" dt="2025-10-22T18:25:54.581" v="3044"/>
          <ac:spMkLst>
            <pc:docMk/>
            <pc:sldMk cId="2714884229" sldId="305"/>
            <ac:spMk id="25" creationId="{1F41BECF-5242-19D7-9D84-865224C9A013}"/>
          </ac:spMkLst>
        </pc:spChg>
        <pc:spChg chg="add del mod modVis">
          <ac:chgData name="Frode Singstad (NO)" userId="6e7333a6-999f-49b0-9714-e1a4f457baf0" providerId="ADAL" clId="{46661E0C-1B95-40C6-B60E-F35416AC14D5}" dt="2025-10-22T18:26:01.865" v="3076"/>
          <ac:spMkLst>
            <pc:docMk/>
            <pc:sldMk cId="2714884229" sldId="305"/>
            <ac:spMk id="26" creationId="{BBBE4E29-CC7F-80D3-2ED9-E857AF700F30}"/>
          </ac:spMkLst>
        </pc:spChg>
        <pc:spChg chg="add del mod modVis">
          <ac:chgData name="Frode Singstad (NO)" userId="6e7333a6-999f-49b0-9714-e1a4f457baf0" providerId="ADAL" clId="{46661E0C-1B95-40C6-B60E-F35416AC14D5}" dt="2025-10-22T18:26:02.400" v="3107"/>
          <ac:spMkLst>
            <pc:docMk/>
            <pc:sldMk cId="2714884229" sldId="305"/>
            <ac:spMk id="27" creationId="{2D5D437F-4906-0E30-3826-C8254A8C41C6}"/>
          </ac:spMkLst>
        </pc:spChg>
        <pc:spChg chg="add del mod modVis">
          <ac:chgData name="Frode Singstad (NO)" userId="6e7333a6-999f-49b0-9714-e1a4f457baf0" providerId="ADAL" clId="{46661E0C-1B95-40C6-B60E-F35416AC14D5}" dt="2025-10-22T18:26:03.734" v="3138"/>
          <ac:spMkLst>
            <pc:docMk/>
            <pc:sldMk cId="2714884229" sldId="305"/>
            <ac:spMk id="28" creationId="{16CB14B2-0920-ED74-C0B9-D9E55CE84959}"/>
          </ac:spMkLst>
        </pc:spChg>
        <pc:spChg chg="add del mod modVis">
          <ac:chgData name="Frode Singstad (NO)" userId="6e7333a6-999f-49b0-9714-e1a4f457baf0" providerId="ADAL" clId="{46661E0C-1B95-40C6-B60E-F35416AC14D5}" dt="2025-10-22T18:26:05.096" v="3170"/>
          <ac:spMkLst>
            <pc:docMk/>
            <pc:sldMk cId="2714884229" sldId="305"/>
            <ac:spMk id="29" creationId="{DACE22D6-3D95-E12A-0BC3-0F03E9AB5C83}"/>
          </ac:spMkLst>
        </pc:spChg>
        <pc:spChg chg="add del mod modVis">
          <ac:chgData name="Frode Singstad (NO)" userId="6e7333a6-999f-49b0-9714-e1a4f457baf0" providerId="ADAL" clId="{46661E0C-1B95-40C6-B60E-F35416AC14D5}" dt="2025-10-22T18:26:06.266" v="3202"/>
          <ac:spMkLst>
            <pc:docMk/>
            <pc:sldMk cId="2714884229" sldId="305"/>
            <ac:spMk id="30" creationId="{96C920FA-26D5-12EB-6F7C-20CF2F1A5300}"/>
          </ac:spMkLst>
        </pc:spChg>
        <pc:spChg chg="add del mod modVis">
          <ac:chgData name="Frode Singstad (NO)" userId="6e7333a6-999f-49b0-9714-e1a4f457baf0" providerId="ADAL" clId="{46661E0C-1B95-40C6-B60E-F35416AC14D5}" dt="2025-10-22T18:26:07.068" v="3233"/>
          <ac:spMkLst>
            <pc:docMk/>
            <pc:sldMk cId="2714884229" sldId="305"/>
            <ac:spMk id="31" creationId="{739A687D-3F47-28A7-75C1-54AD9FCE62A5}"/>
          </ac:spMkLst>
        </pc:spChg>
        <pc:graphicFrameChg chg="mod">
          <ac:chgData name="Frode Singstad (NO)" userId="6e7333a6-999f-49b0-9714-e1a4f457baf0" providerId="ADAL" clId="{46661E0C-1B95-40C6-B60E-F35416AC14D5}" dt="2025-10-22T18:26:07.068" v="3235"/>
          <ac:graphicFrameMkLst>
            <pc:docMk/>
            <pc:sldMk cId="2714884229" sldId="305"/>
            <ac:graphicFrameMk id="5" creationId="{5A3E69C8-0217-5E6D-AC19-3DABFF77441F}"/>
          </ac:graphicFrameMkLst>
        </pc:graphicFrameChg>
        <pc:picChg chg="add del mod">
          <ac:chgData name="Frode Singstad (NO)" userId="6e7333a6-999f-49b0-9714-e1a4f457baf0" providerId="ADAL" clId="{46661E0C-1B95-40C6-B60E-F35416AC14D5}" dt="2025-10-22T18:25:31.157" v="2984" actId="478"/>
          <ac:picMkLst>
            <pc:docMk/>
            <pc:sldMk cId="2714884229" sldId="305"/>
            <ac:picMk id="23" creationId="{739BAF47-516B-A5B2-02B0-177802877047}"/>
          </ac:picMkLst>
        </pc:picChg>
        <pc:picChg chg="add del mod">
          <ac:chgData name="Frode Singstad (NO)" userId="6e7333a6-999f-49b0-9714-e1a4f457baf0" providerId="ADAL" clId="{46661E0C-1B95-40C6-B60E-F35416AC14D5}" dt="2025-10-22T18:25:29.024" v="2983" actId="478"/>
          <ac:picMkLst>
            <pc:docMk/>
            <pc:sldMk cId="2714884229" sldId="305"/>
            <ac:picMk id="1026" creationId="{1C432BDE-8876-B701-18BC-D0184EBB8A6D}"/>
          </ac:picMkLst>
        </pc:picChg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973047308" sldId="30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89841949" sldId="31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168577050" sldId="316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828462271" sldId="214747144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612802845" sldId="214747146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166274778" sldId="214747146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040065153" sldId="214747147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065872002" sldId="2147471471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989154119" sldId="214747147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586552942" sldId="214747147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468493949" sldId="2147471474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836845969" sldId="214747152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943106316" sldId="2147471534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903017145" sldId="2147471535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226906472" sldId="2147471536"/>
        </pc:sldMkLst>
      </pc:sldChg>
      <pc:sldChg chg="addSp delSp modSp mod">
        <pc:chgData name="Frode Singstad (NO)" userId="6e7333a6-999f-49b0-9714-e1a4f457baf0" providerId="ADAL" clId="{46661E0C-1B95-40C6-B60E-F35416AC14D5}" dt="2025-10-23T08:06:31.087" v="3295" actId="732"/>
        <pc:sldMkLst>
          <pc:docMk/>
          <pc:sldMk cId="2052970285" sldId="2147471537"/>
        </pc:sldMkLst>
        <pc:spChg chg="add del mod">
          <ac:chgData name="Frode Singstad (NO)" userId="6e7333a6-999f-49b0-9714-e1a4f457baf0" providerId="ADAL" clId="{46661E0C-1B95-40C6-B60E-F35416AC14D5}" dt="2025-10-22T06:47:55.859" v="244" actId="478"/>
          <ac:spMkLst>
            <pc:docMk/>
            <pc:sldMk cId="2052970285" sldId="2147471537"/>
            <ac:spMk id="3" creationId="{6ED0B2D4-EE63-8235-B07A-C7FA9AFEC807}"/>
          </ac:spMkLst>
        </pc:spChg>
        <pc:spChg chg="add del mod ord">
          <ac:chgData name="Frode Singstad (NO)" userId="6e7333a6-999f-49b0-9714-e1a4f457baf0" providerId="ADAL" clId="{46661E0C-1B95-40C6-B60E-F35416AC14D5}" dt="2025-10-22T11:02:19.142" v="2124" actId="478"/>
          <ac:spMkLst>
            <pc:docMk/>
            <pc:sldMk cId="2052970285" sldId="2147471537"/>
            <ac:spMk id="4" creationId="{31092343-48EB-96D7-8F7C-9EF3482F624C}"/>
          </ac:spMkLst>
        </pc:spChg>
        <pc:spChg chg="del">
          <ac:chgData name="Frode Singstad (NO)" userId="6e7333a6-999f-49b0-9714-e1a4f457baf0" providerId="ADAL" clId="{46661E0C-1B95-40C6-B60E-F35416AC14D5}" dt="2025-10-22T11:02:17.741" v="2123" actId="478"/>
          <ac:spMkLst>
            <pc:docMk/>
            <pc:sldMk cId="2052970285" sldId="2147471537"/>
            <ac:spMk id="5" creationId="{83CE7143-FC96-5E57-66B9-5BD0C70729C0}"/>
          </ac:spMkLst>
        </pc:spChg>
        <pc:spChg chg="add del mod modVis">
          <ac:chgData name="Frode Singstad (NO)" userId="6e7333a6-999f-49b0-9714-e1a4f457baf0" providerId="ADAL" clId="{46661E0C-1B95-40C6-B60E-F35416AC14D5}" dt="2025-10-22T06:48:38.543" v="284"/>
          <ac:spMkLst>
            <pc:docMk/>
            <pc:sldMk cId="2052970285" sldId="2147471537"/>
            <ac:spMk id="5" creationId="{84BE9464-4623-5896-D908-DFA6992639D8}"/>
          </ac:spMkLst>
        </pc:spChg>
        <pc:spChg chg="mod ord">
          <ac:chgData name="Frode Singstad (NO)" userId="6e7333a6-999f-49b0-9714-e1a4f457baf0" providerId="ADAL" clId="{46661E0C-1B95-40C6-B60E-F35416AC14D5}" dt="2025-10-22T06:48:50.481" v="301" actId="1076"/>
          <ac:spMkLst>
            <pc:docMk/>
            <pc:sldMk cId="2052970285" sldId="2147471537"/>
            <ac:spMk id="6" creationId="{248724AB-1BF3-A040-1664-FDA05542585C}"/>
          </ac:spMkLst>
        </pc:spChg>
        <pc:spChg chg="mod ord">
          <ac:chgData name="Frode Singstad (NO)" userId="6e7333a6-999f-49b0-9714-e1a4f457baf0" providerId="ADAL" clId="{46661E0C-1B95-40C6-B60E-F35416AC14D5}" dt="2025-10-22T06:48:43.433" v="298"/>
          <ac:spMkLst>
            <pc:docMk/>
            <pc:sldMk cId="2052970285" sldId="2147471537"/>
            <ac:spMk id="8" creationId="{76571811-CEDA-1F97-7E70-67EC8C299597}"/>
          </ac:spMkLst>
        </pc:spChg>
        <pc:spChg chg="mod ord">
          <ac:chgData name="Frode Singstad (NO)" userId="6e7333a6-999f-49b0-9714-e1a4f457baf0" providerId="ADAL" clId="{46661E0C-1B95-40C6-B60E-F35416AC14D5}" dt="2025-10-22T06:48:43.433" v="292"/>
          <ac:spMkLst>
            <pc:docMk/>
            <pc:sldMk cId="2052970285" sldId="2147471537"/>
            <ac:spMk id="13" creationId="{04D90749-659C-F137-7416-6D055992315E}"/>
          </ac:spMkLst>
        </pc:spChg>
        <pc:spChg chg="mod ord">
          <ac:chgData name="Frode Singstad (NO)" userId="6e7333a6-999f-49b0-9714-e1a4f457baf0" providerId="ADAL" clId="{46661E0C-1B95-40C6-B60E-F35416AC14D5}" dt="2025-10-22T06:48:43.433" v="296"/>
          <ac:spMkLst>
            <pc:docMk/>
            <pc:sldMk cId="2052970285" sldId="2147471537"/>
            <ac:spMk id="15" creationId="{3445D1C9-0BF4-79A0-7FE8-DDE0E685320C}"/>
          </ac:spMkLst>
        </pc:spChg>
        <pc:graphicFrameChg chg="mod">
          <ac:chgData name="Frode Singstad (NO)" userId="6e7333a6-999f-49b0-9714-e1a4f457baf0" providerId="ADAL" clId="{46661E0C-1B95-40C6-B60E-F35416AC14D5}" dt="2025-10-22T06:48:43.433" v="300"/>
          <ac:graphicFrameMkLst>
            <pc:docMk/>
            <pc:sldMk cId="2052970285" sldId="2147471537"/>
            <ac:graphicFrameMk id="7" creationId="{6AA980C1-243D-1627-4150-CFF139D2DC51}"/>
          </ac:graphicFrameMkLst>
        </pc:graphicFrameChg>
        <pc:picChg chg="mod ord modCrop">
          <ac:chgData name="Frode Singstad (NO)" userId="6e7333a6-999f-49b0-9714-e1a4f457baf0" providerId="ADAL" clId="{46661E0C-1B95-40C6-B60E-F35416AC14D5}" dt="2025-10-23T08:06:31.087" v="3295" actId="732"/>
          <ac:picMkLst>
            <pc:docMk/>
            <pc:sldMk cId="2052970285" sldId="2147471537"/>
            <ac:picMk id="2" creationId="{A1017B83-A824-8B46-3CC3-F9BA8FBF8D30}"/>
          </ac:picMkLst>
        </pc:picChg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106817528" sldId="214747153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612225602" sldId="214747153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896969556" sldId="2147471541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413090795" sldId="214747154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708268983" sldId="214747154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621298097" sldId="214747154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711697576" sldId="214747154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647184051" sldId="214747155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468646823" sldId="214747155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865929332" sldId="214747155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063842164" sldId="2147471554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311179919" sldId="2147471555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152948489" sldId="2147471556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193756178" sldId="214747155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146007652" sldId="214747155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174000775" sldId="214747156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084570691" sldId="2147471561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132213628" sldId="214747156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054378897" sldId="214747156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74431367" sldId="2147471564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376382819" sldId="2147471565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050976678" sldId="2147471566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772271029" sldId="214747156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175192341" sldId="214747156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048278595" sldId="214747156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37072063" sldId="214747157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284922130" sldId="2147471571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804445741" sldId="214747157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814927377" sldId="2147471573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48323716" sldId="2147471574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614218737" sldId="2147471575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164105939" sldId="2147471576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204372882" sldId="214747157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121461756" sldId="2147471584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531123539" sldId="2147471585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066024039" sldId="2147471586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114895917" sldId="2147471587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006679339" sldId="214747158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0772448" sldId="214747158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2786521031" sldId="2147471590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185714120" sldId="2147471591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745788591" sldId="2147471602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654631152" sldId="2147471606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537631188" sldId="2147471608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55575978" sldId="214747160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4197444666" sldId="2147471789"/>
        </pc:sldMkLst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579997167" sldId="2147471798"/>
        </pc:sldMkLst>
      </pc:sldChg>
      <pc:sldChg chg="modSp mod">
        <pc:chgData name="Frode Singstad (NO)" userId="6e7333a6-999f-49b0-9714-e1a4f457baf0" providerId="ADAL" clId="{46661E0C-1B95-40C6-B60E-F35416AC14D5}" dt="2025-10-23T08:04:29.614" v="3259" actId="20577"/>
        <pc:sldMkLst>
          <pc:docMk/>
          <pc:sldMk cId="4215881719" sldId="2147475644"/>
        </pc:sldMkLst>
        <pc:spChg chg="mod">
          <ac:chgData name="Frode Singstad (NO)" userId="6e7333a6-999f-49b0-9714-e1a4f457baf0" providerId="ADAL" clId="{46661E0C-1B95-40C6-B60E-F35416AC14D5}" dt="2025-10-23T08:04:29.614" v="3259" actId="20577"/>
          <ac:spMkLst>
            <pc:docMk/>
            <pc:sldMk cId="4215881719" sldId="2147475644"/>
            <ac:spMk id="9" creationId="{6D45FBCF-F654-37CF-10CA-7AB40D869512}"/>
          </ac:spMkLst>
        </pc:spChg>
      </pc:sldChg>
      <pc:sldChg chg="addSp delSp modSp del mod">
        <pc:chgData name="Frode Singstad (NO)" userId="6e7333a6-999f-49b0-9714-e1a4f457baf0" providerId="ADAL" clId="{46661E0C-1B95-40C6-B60E-F35416AC14D5}" dt="2025-10-23T07:50:26.128" v="3239" actId="2696"/>
        <pc:sldMkLst>
          <pc:docMk/>
          <pc:sldMk cId="1183497959" sldId="2147475648"/>
        </pc:sldMkLst>
        <pc:spChg chg="add mod">
          <ac:chgData name="Frode Singstad (NO)" userId="6e7333a6-999f-49b0-9714-e1a4f457baf0" providerId="ADAL" clId="{46661E0C-1B95-40C6-B60E-F35416AC14D5}" dt="2025-10-22T06:48:53.824" v="302"/>
          <ac:spMkLst>
            <pc:docMk/>
            <pc:sldMk cId="1183497959" sldId="2147475648"/>
            <ac:spMk id="2" creationId="{E8C52DFF-3170-7A37-A005-BF7EA98E4764}"/>
          </ac:spMkLst>
        </pc:spChg>
        <pc:spChg chg="add del mod">
          <ac:chgData name="Frode Singstad (NO)" userId="6e7333a6-999f-49b0-9714-e1a4f457baf0" providerId="ADAL" clId="{46661E0C-1B95-40C6-B60E-F35416AC14D5}" dt="2025-10-22T11:02:22.152" v="2125" actId="478"/>
          <ac:spMkLst>
            <pc:docMk/>
            <pc:sldMk cId="1183497959" sldId="2147475648"/>
            <ac:spMk id="3" creationId="{7D1F1492-0653-8B35-E264-215393C5F89E}"/>
          </ac:spMkLst>
        </pc:spChg>
      </pc:sldChg>
      <pc:sldChg chg="addSp delSp modSp mod">
        <pc:chgData name="Frode Singstad (NO)" userId="6e7333a6-999f-49b0-9714-e1a4f457baf0" providerId="ADAL" clId="{46661E0C-1B95-40C6-B60E-F35416AC14D5}" dt="2025-10-22T11:02:23.547" v="2126" actId="478"/>
        <pc:sldMkLst>
          <pc:docMk/>
          <pc:sldMk cId="3038392511" sldId="2147475649"/>
        </pc:sldMkLst>
        <pc:spChg chg="add del mod">
          <ac:chgData name="Frode Singstad (NO)" userId="6e7333a6-999f-49b0-9714-e1a4f457baf0" providerId="ADAL" clId="{46661E0C-1B95-40C6-B60E-F35416AC14D5}" dt="2025-10-22T11:02:23.547" v="2126" actId="478"/>
          <ac:spMkLst>
            <pc:docMk/>
            <pc:sldMk cId="3038392511" sldId="2147475649"/>
            <ac:spMk id="2" creationId="{904B1FCD-1438-7068-0918-D8EC10BE9FB7}"/>
          </ac:spMkLst>
        </pc:spChg>
      </pc:sldChg>
      <pc:sldChg chg="modSp mod">
        <pc:chgData name="Frode Singstad (NO)" userId="6e7333a6-999f-49b0-9714-e1a4f457baf0" providerId="ADAL" clId="{46661E0C-1B95-40C6-B60E-F35416AC14D5}" dt="2025-10-23T08:02:39.609" v="3241" actId="14100"/>
        <pc:sldMkLst>
          <pc:docMk/>
          <pc:sldMk cId="1171148929" sldId="2147475650"/>
        </pc:sldMkLst>
        <pc:picChg chg="mod">
          <ac:chgData name="Frode Singstad (NO)" userId="6e7333a6-999f-49b0-9714-e1a4f457baf0" providerId="ADAL" clId="{46661E0C-1B95-40C6-B60E-F35416AC14D5}" dt="2025-10-23T08:02:39.609" v="3241" actId="14100"/>
          <ac:picMkLst>
            <pc:docMk/>
            <pc:sldMk cId="1171148929" sldId="2147475650"/>
            <ac:picMk id="5" creationId="{FC99137B-8D7C-A8B2-CC13-3CFBFCD22A32}"/>
          </ac:picMkLst>
        </pc:picChg>
      </pc:sldChg>
      <pc:sldChg chg="del">
        <pc:chgData name="Frode Singstad (NO)" userId="6e7333a6-999f-49b0-9714-e1a4f457baf0" providerId="ADAL" clId="{46661E0C-1B95-40C6-B60E-F35416AC14D5}" dt="2025-10-23T07:50:26.128" v="3239" actId="2696"/>
        <pc:sldMkLst>
          <pc:docMk/>
          <pc:sldMk cId="3138258160" sldId="2147475652"/>
        </pc:sldMkLst>
      </pc:sldChg>
      <pc:sldChg chg="addSp delSp modSp mod">
        <pc:chgData name="Frode Singstad (NO)" userId="6e7333a6-999f-49b0-9714-e1a4f457baf0" providerId="ADAL" clId="{46661E0C-1B95-40C6-B60E-F35416AC14D5}" dt="2025-10-22T11:59:56.115" v="2136" actId="14100"/>
        <pc:sldMkLst>
          <pc:docMk/>
          <pc:sldMk cId="250196457" sldId="2147475655"/>
        </pc:sldMkLst>
        <pc:spChg chg="mod ord">
          <ac:chgData name="Frode Singstad (NO)" userId="6e7333a6-999f-49b0-9714-e1a4f457baf0" providerId="ADAL" clId="{46661E0C-1B95-40C6-B60E-F35416AC14D5}" dt="2025-10-22T10:55:30.345" v="1792"/>
          <ac:spMkLst>
            <pc:docMk/>
            <pc:sldMk cId="250196457" sldId="2147475655"/>
            <ac:spMk id="2" creationId="{D4919E55-C958-2393-08F7-A417723D8244}"/>
          </ac:spMkLst>
        </pc:spChg>
        <pc:spChg chg="mod ord">
          <ac:chgData name="Frode Singstad (NO)" userId="6e7333a6-999f-49b0-9714-e1a4f457baf0" providerId="ADAL" clId="{46661E0C-1B95-40C6-B60E-F35416AC14D5}" dt="2025-10-22T10:55:30.345" v="1798"/>
          <ac:spMkLst>
            <pc:docMk/>
            <pc:sldMk cId="250196457" sldId="2147475655"/>
            <ac:spMk id="5" creationId="{3BA341D3-DA07-7EEA-9172-CEABA256BC16}"/>
          </ac:spMkLst>
        </pc:spChg>
        <pc:spChg chg="add mod ord">
          <ac:chgData name="Frode Singstad (NO)" userId="6e7333a6-999f-49b0-9714-e1a4f457baf0" providerId="ADAL" clId="{46661E0C-1B95-40C6-B60E-F35416AC14D5}" dt="2025-10-22T10:56:38.459" v="1840" actId="6549"/>
          <ac:spMkLst>
            <pc:docMk/>
            <pc:sldMk cId="250196457" sldId="2147475655"/>
            <ac:spMk id="6" creationId="{A736E55C-9D0E-DC7E-327D-A09BD59C6F2F}"/>
          </ac:spMkLst>
        </pc:spChg>
        <pc:spChg chg="mod ord">
          <ac:chgData name="Frode Singstad (NO)" userId="6e7333a6-999f-49b0-9714-e1a4f457baf0" providerId="ADAL" clId="{46661E0C-1B95-40C6-B60E-F35416AC14D5}" dt="2025-10-22T10:55:30.345" v="1794"/>
          <ac:spMkLst>
            <pc:docMk/>
            <pc:sldMk cId="250196457" sldId="2147475655"/>
            <ac:spMk id="7" creationId="{D28B30A0-2D35-9CE2-C061-855B417CC9B9}"/>
          </ac:spMkLst>
        </pc:spChg>
        <pc:spChg chg="add mod ord">
          <ac:chgData name="Frode Singstad (NO)" userId="6e7333a6-999f-49b0-9714-e1a4f457baf0" providerId="ADAL" clId="{46661E0C-1B95-40C6-B60E-F35416AC14D5}" dt="2025-10-22T11:59:20.432" v="2129" actId="1036"/>
          <ac:spMkLst>
            <pc:docMk/>
            <pc:sldMk cId="250196457" sldId="2147475655"/>
            <ac:spMk id="8" creationId="{46D7FE7C-7F3D-E659-ACCA-7AC5FAC3199F}"/>
          </ac:spMkLst>
        </pc:spChg>
        <pc:spChg chg="add mod ord">
          <ac:chgData name="Frode Singstad (NO)" userId="6e7333a6-999f-49b0-9714-e1a4f457baf0" providerId="ADAL" clId="{46661E0C-1B95-40C6-B60E-F35416AC14D5}" dt="2025-10-22T10:55:50.488" v="1838" actId="164"/>
          <ac:spMkLst>
            <pc:docMk/>
            <pc:sldMk cId="250196457" sldId="2147475655"/>
            <ac:spMk id="10" creationId="{4D83F8E3-4D16-51BF-9392-4096AEEED7B5}"/>
          </ac:spMkLst>
        </pc:spChg>
        <pc:spChg chg="add mod ord">
          <ac:chgData name="Frode Singstad (NO)" userId="6e7333a6-999f-49b0-9714-e1a4f457baf0" providerId="ADAL" clId="{46661E0C-1B95-40C6-B60E-F35416AC14D5}" dt="2025-10-22T10:55:30.345" v="1804"/>
          <ac:spMkLst>
            <pc:docMk/>
            <pc:sldMk cId="250196457" sldId="2147475655"/>
            <ac:spMk id="11" creationId="{3CD123B3-CCBA-79E1-9DB7-8780246DDCB6}"/>
          </ac:spMkLst>
        </pc:spChg>
        <pc:spChg chg="add mod ord">
          <ac:chgData name="Frode Singstad (NO)" userId="6e7333a6-999f-49b0-9714-e1a4f457baf0" providerId="ADAL" clId="{46661E0C-1B95-40C6-B60E-F35416AC14D5}" dt="2025-10-22T10:55:50.488" v="1838" actId="164"/>
          <ac:spMkLst>
            <pc:docMk/>
            <pc:sldMk cId="250196457" sldId="2147475655"/>
            <ac:spMk id="13" creationId="{16A5E026-2401-4540-2931-3D3B4E6B1FBE}"/>
          </ac:spMkLst>
        </pc:spChg>
        <pc:spChg chg="add mod ord">
          <ac:chgData name="Frode Singstad (NO)" userId="6e7333a6-999f-49b0-9714-e1a4f457baf0" providerId="ADAL" clId="{46661E0C-1B95-40C6-B60E-F35416AC14D5}" dt="2025-10-22T10:55:50.488" v="1838" actId="164"/>
          <ac:spMkLst>
            <pc:docMk/>
            <pc:sldMk cId="250196457" sldId="2147475655"/>
            <ac:spMk id="14" creationId="{9047DDD3-B215-2D5C-CFBA-FB2F4343A233}"/>
          </ac:spMkLst>
        </pc:spChg>
        <pc:spChg chg="add mod ord">
          <ac:chgData name="Frode Singstad (NO)" userId="6e7333a6-999f-49b0-9714-e1a4f457baf0" providerId="ADAL" clId="{46661E0C-1B95-40C6-B60E-F35416AC14D5}" dt="2025-10-22T11:59:51.141" v="2135" actId="1036"/>
          <ac:spMkLst>
            <pc:docMk/>
            <pc:sldMk cId="250196457" sldId="2147475655"/>
            <ac:spMk id="15" creationId="{CC3F55C0-D3D3-F224-F5EB-204AAC5271BB}"/>
          </ac:spMkLst>
        </pc:spChg>
        <pc:spChg chg="add mod ord">
          <ac:chgData name="Frode Singstad (NO)" userId="6e7333a6-999f-49b0-9714-e1a4f457baf0" providerId="ADAL" clId="{46661E0C-1B95-40C6-B60E-F35416AC14D5}" dt="2025-10-22T10:55:50.488" v="1838" actId="164"/>
          <ac:spMkLst>
            <pc:docMk/>
            <pc:sldMk cId="250196457" sldId="2147475655"/>
            <ac:spMk id="16" creationId="{2A1DD2F0-9315-CDE6-3255-455CAC3EF61A}"/>
          </ac:spMkLst>
        </pc:spChg>
        <pc:spChg chg="add mod ord">
          <ac:chgData name="Frode Singstad (NO)" userId="6e7333a6-999f-49b0-9714-e1a4f457baf0" providerId="ADAL" clId="{46661E0C-1B95-40C6-B60E-F35416AC14D5}" dt="2025-10-22T10:55:30.345" v="1814"/>
          <ac:spMkLst>
            <pc:docMk/>
            <pc:sldMk cId="250196457" sldId="2147475655"/>
            <ac:spMk id="17" creationId="{A5A7B1E6-304D-1E49-A42A-40301AF6A510}"/>
          </ac:spMkLst>
        </pc:spChg>
        <pc:spChg chg="add mod ord">
          <ac:chgData name="Frode Singstad (NO)" userId="6e7333a6-999f-49b0-9714-e1a4f457baf0" providerId="ADAL" clId="{46661E0C-1B95-40C6-B60E-F35416AC14D5}" dt="2025-10-22T10:55:30.345" v="1816"/>
          <ac:spMkLst>
            <pc:docMk/>
            <pc:sldMk cId="250196457" sldId="2147475655"/>
            <ac:spMk id="18" creationId="{23EFEBFF-2DC3-5EC2-384C-A95CEC3BECEC}"/>
          </ac:spMkLst>
        </pc:spChg>
        <pc:spChg chg="add mod ord">
          <ac:chgData name="Frode Singstad (NO)" userId="6e7333a6-999f-49b0-9714-e1a4f457baf0" providerId="ADAL" clId="{46661E0C-1B95-40C6-B60E-F35416AC14D5}" dt="2025-10-22T10:55:50.488" v="1838" actId="164"/>
          <ac:spMkLst>
            <pc:docMk/>
            <pc:sldMk cId="250196457" sldId="2147475655"/>
            <ac:spMk id="19" creationId="{BFEF0B81-BD6D-0A6A-F5CE-B81EE6AAE4CE}"/>
          </ac:spMkLst>
        </pc:spChg>
        <pc:spChg chg="add mod ord">
          <ac:chgData name="Frode Singstad (NO)" userId="6e7333a6-999f-49b0-9714-e1a4f457baf0" providerId="ADAL" clId="{46661E0C-1B95-40C6-B60E-F35416AC14D5}" dt="2025-10-22T10:55:50.488" v="1838" actId="164"/>
          <ac:spMkLst>
            <pc:docMk/>
            <pc:sldMk cId="250196457" sldId="2147475655"/>
            <ac:spMk id="20" creationId="{346AF780-9A15-C497-C04D-BB0D94B6F97C}"/>
          </ac:spMkLst>
        </pc:spChg>
        <pc:spChg chg="add mod ord">
          <ac:chgData name="Frode Singstad (NO)" userId="6e7333a6-999f-49b0-9714-e1a4f457baf0" providerId="ADAL" clId="{46661E0C-1B95-40C6-B60E-F35416AC14D5}" dt="2025-10-22T11:59:56.115" v="2136" actId="14100"/>
          <ac:spMkLst>
            <pc:docMk/>
            <pc:sldMk cId="250196457" sldId="2147475655"/>
            <ac:spMk id="21" creationId="{822DF037-CFB0-4427-3DB0-41DCFA1E5EDE}"/>
          </ac:spMkLst>
        </pc:spChg>
        <pc:spChg chg="mod ord topLvl">
          <ac:chgData name="Frode Singstad (NO)" userId="6e7333a6-999f-49b0-9714-e1a4f457baf0" providerId="ADAL" clId="{46661E0C-1B95-40C6-B60E-F35416AC14D5}" dt="2025-10-22T11:01:28.219" v="2111" actId="164"/>
          <ac:spMkLst>
            <pc:docMk/>
            <pc:sldMk cId="250196457" sldId="2147475655"/>
            <ac:spMk id="25" creationId="{DA5F49DF-41BC-4469-243B-00763FE2311B}"/>
          </ac:spMkLst>
        </pc:spChg>
        <pc:spChg chg="del mod topLvl">
          <ac:chgData name="Frode Singstad (NO)" userId="6e7333a6-999f-49b0-9714-e1a4f457baf0" providerId="ADAL" clId="{46661E0C-1B95-40C6-B60E-F35416AC14D5}" dt="2025-10-22T09:04:44.907" v="1501" actId="21"/>
          <ac:spMkLst>
            <pc:docMk/>
            <pc:sldMk cId="250196457" sldId="2147475655"/>
            <ac:spMk id="26" creationId="{A1A6FCC7-0269-24CD-1D2D-6C1B8131DC56}"/>
          </ac:spMkLst>
        </pc:spChg>
        <pc:spChg chg="del mod topLvl">
          <ac:chgData name="Frode Singstad (NO)" userId="6e7333a6-999f-49b0-9714-e1a4f457baf0" providerId="ADAL" clId="{46661E0C-1B95-40C6-B60E-F35416AC14D5}" dt="2025-10-22T09:04:44.907" v="1501" actId="21"/>
          <ac:spMkLst>
            <pc:docMk/>
            <pc:sldMk cId="250196457" sldId="2147475655"/>
            <ac:spMk id="27" creationId="{4E9149EE-7427-B405-8C2D-7947E575D192}"/>
          </ac:spMkLst>
        </pc:spChg>
        <pc:spChg chg="mod ord topLvl">
          <ac:chgData name="Frode Singstad (NO)" userId="6e7333a6-999f-49b0-9714-e1a4f457baf0" providerId="ADAL" clId="{46661E0C-1B95-40C6-B60E-F35416AC14D5}" dt="2025-10-22T11:01:28.219" v="2111" actId="164"/>
          <ac:spMkLst>
            <pc:docMk/>
            <pc:sldMk cId="250196457" sldId="2147475655"/>
            <ac:spMk id="28" creationId="{8E0F6D26-61D5-50F9-B2FF-49B5B16A0FD1}"/>
          </ac:spMkLst>
        </pc:spChg>
        <pc:spChg chg="add mod ord">
          <ac:chgData name="Frode Singstad (NO)" userId="6e7333a6-999f-49b0-9714-e1a4f457baf0" providerId="ADAL" clId="{46661E0C-1B95-40C6-B60E-F35416AC14D5}" dt="2025-10-22T11:01:28.219" v="2111" actId="164"/>
          <ac:spMkLst>
            <pc:docMk/>
            <pc:sldMk cId="250196457" sldId="2147475655"/>
            <ac:spMk id="30" creationId="{A1A6FCC7-0269-24CD-1D2D-6C1B8131DC56}"/>
          </ac:spMkLst>
        </pc:spChg>
        <pc:spChg chg="add mod ord">
          <ac:chgData name="Frode Singstad (NO)" userId="6e7333a6-999f-49b0-9714-e1a4f457baf0" providerId="ADAL" clId="{46661E0C-1B95-40C6-B60E-F35416AC14D5}" dt="2025-10-22T11:01:28.219" v="2111" actId="164"/>
          <ac:spMkLst>
            <pc:docMk/>
            <pc:sldMk cId="250196457" sldId="2147475655"/>
            <ac:spMk id="31" creationId="{4E9149EE-7427-B405-8C2D-7947E575D192}"/>
          </ac:spMkLst>
        </pc:spChg>
        <pc:spChg chg="add del mod">
          <ac:chgData name="Frode Singstad (NO)" userId="6e7333a6-999f-49b0-9714-e1a4f457baf0" providerId="ADAL" clId="{46661E0C-1B95-40C6-B60E-F35416AC14D5}" dt="2025-10-22T09:06:11.444" v="1515" actId="478"/>
          <ac:spMkLst>
            <pc:docMk/>
            <pc:sldMk cId="250196457" sldId="2147475655"/>
            <ac:spMk id="33" creationId="{6A96CAEE-E708-08D2-23DF-9E68A04D0FC3}"/>
          </ac:spMkLst>
        </pc:spChg>
        <pc:spChg chg="add del mod">
          <ac:chgData name="Frode Singstad (NO)" userId="6e7333a6-999f-49b0-9714-e1a4f457baf0" providerId="ADAL" clId="{46661E0C-1B95-40C6-B60E-F35416AC14D5}" dt="2025-10-22T09:10:21.174" v="1533" actId="478"/>
          <ac:spMkLst>
            <pc:docMk/>
            <pc:sldMk cId="250196457" sldId="2147475655"/>
            <ac:spMk id="36" creationId="{C9256CBF-0EE6-5004-FDBC-4AA416868402}"/>
          </ac:spMkLst>
        </pc:spChg>
        <pc:spChg chg="add mod ord">
          <ac:chgData name="Frode Singstad (NO)" userId="6e7333a6-999f-49b0-9714-e1a4f457baf0" providerId="ADAL" clId="{46661E0C-1B95-40C6-B60E-F35416AC14D5}" dt="2025-10-22T11:01:46.905" v="2122" actId="14100"/>
          <ac:spMkLst>
            <pc:docMk/>
            <pc:sldMk cId="250196457" sldId="2147475655"/>
            <ac:spMk id="46" creationId="{D9DDDDE5-41C3-3B0D-1942-C683A7044529}"/>
          </ac:spMkLst>
        </pc:spChg>
        <pc:spChg chg="add del mod modVis">
          <ac:chgData name="Frode Singstad (NO)" userId="6e7333a6-999f-49b0-9714-e1a4f457baf0" providerId="ADAL" clId="{46661E0C-1B95-40C6-B60E-F35416AC14D5}" dt="2025-10-22T10:54:32.614" v="1622"/>
          <ac:spMkLst>
            <pc:docMk/>
            <pc:sldMk cId="250196457" sldId="2147475655"/>
            <ac:spMk id="47" creationId="{8D2E6639-EC27-18AC-9645-27312166EE5E}"/>
          </ac:spMkLst>
        </pc:spChg>
        <pc:grpChg chg="add del mod">
          <ac:chgData name="Frode Singstad (NO)" userId="6e7333a6-999f-49b0-9714-e1a4f457baf0" providerId="ADAL" clId="{46661E0C-1B95-40C6-B60E-F35416AC14D5}" dt="2025-10-22T09:03:34.796" v="1404" actId="165"/>
          <ac:grpSpMkLst>
            <pc:docMk/>
            <pc:sldMk cId="250196457" sldId="2147475655"/>
            <ac:grpSpMk id="24" creationId="{FCD5E737-5665-FB9B-4FBC-7BFB96652490}"/>
          </ac:grpSpMkLst>
        </pc:grpChg>
        <pc:grpChg chg="add del mod">
          <ac:chgData name="Frode Singstad (NO)" userId="6e7333a6-999f-49b0-9714-e1a4f457baf0" providerId="ADAL" clId="{46661E0C-1B95-40C6-B60E-F35416AC14D5}" dt="2025-10-22T09:04:42.848" v="1500" actId="165"/>
          <ac:grpSpMkLst>
            <pc:docMk/>
            <pc:sldMk cId="250196457" sldId="2147475655"/>
            <ac:grpSpMk id="29" creationId="{360F063F-A1D3-07BD-B79C-B1CFADD8CC50}"/>
          </ac:grpSpMkLst>
        </pc:grpChg>
        <pc:grpChg chg="mod">
          <ac:chgData name="Frode Singstad (NO)" userId="6e7333a6-999f-49b0-9714-e1a4f457baf0" providerId="ADAL" clId="{46661E0C-1B95-40C6-B60E-F35416AC14D5}" dt="2025-10-22T11:01:28.219" v="2111" actId="164"/>
          <ac:grpSpMkLst>
            <pc:docMk/>
            <pc:sldMk cId="250196457" sldId="2147475655"/>
            <ac:grpSpMk id="50" creationId="{C23CDBF3-9ED5-A2E0-246B-78483C870A7C}"/>
          </ac:grpSpMkLst>
        </pc:grpChg>
        <pc:grpChg chg="add mod">
          <ac:chgData name="Frode Singstad (NO)" userId="6e7333a6-999f-49b0-9714-e1a4f457baf0" providerId="ADAL" clId="{46661E0C-1B95-40C6-B60E-F35416AC14D5}" dt="2025-10-22T11:01:28.219" v="2111" actId="164"/>
          <ac:grpSpMkLst>
            <pc:docMk/>
            <pc:sldMk cId="250196457" sldId="2147475655"/>
            <ac:grpSpMk id="51" creationId="{52814428-1650-24F4-9550-F1B34AEC69EC}"/>
          </ac:grpSpMkLst>
        </pc:grpChg>
        <pc:graphicFrameChg chg="mod">
          <ac:chgData name="Frode Singstad (NO)" userId="6e7333a6-999f-49b0-9714-e1a4f457baf0" providerId="ADAL" clId="{46661E0C-1B95-40C6-B60E-F35416AC14D5}" dt="2025-10-22T10:55:30.345" v="1836"/>
          <ac:graphicFrameMkLst>
            <pc:docMk/>
            <pc:sldMk cId="250196457" sldId="2147475655"/>
            <ac:graphicFrameMk id="9" creationId="{071FAC73-D5FB-469F-A5FC-7A598D7F96CE}"/>
          </ac:graphicFrameMkLst>
        </pc:graphicFrameChg>
        <pc:graphicFrameChg chg="add mod ord">
          <ac:chgData name="Frode Singstad (NO)" userId="6e7333a6-999f-49b0-9714-e1a4f457baf0" providerId="ADAL" clId="{46661E0C-1B95-40C6-B60E-F35416AC14D5}" dt="2025-10-22T11:00:10.517" v="2103" actId="1076"/>
          <ac:graphicFrameMkLst>
            <pc:docMk/>
            <pc:sldMk cId="250196457" sldId="2147475655"/>
            <ac:graphicFrameMk id="34" creationId="{A72FF08C-E0B9-A218-FD31-CE2663845175}"/>
          </ac:graphicFrameMkLst>
        </pc:graphicFrameChg>
        <pc:picChg chg="mod ord modCrop">
          <ac:chgData name="Frode Singstad (NO)" userId="6e7333a6-999f-49b0-9714-e1a4f457baf0" providerId="ADAL" clId="{46661E0C-1B95-40C6-B60E-F35416AC14D5}" dt="2025-10-22T10:55:30.342" v="1786"/>
          <ac:picMkLst>
            <pc:docMk/>
            <pc:sldMk cId="250196457" sldId="2147475655"/>
            <ac:picMk id="4" creationId="{EA00AB1E-183F-D3C7-076E-50EB0A54C467}"/>
          </ac:picMkLst>
        </pc:picChg>
        <pc:picChg chg="del mod">
          <ac:chgData name="Frode Singstad (NO)" userId="6e7333a6-999f-49b0-9714-e1a4f457baf0" providerId="ADAL" clId="{46661E0C-1B95-40C6-B60E-F35416AC14D5}" dt="2025-10-22T09:10:13.702" v="1532" actId="478"/>
          <ac:picMkLst>
            <pc:docMk/>
            <pc:sldMk cId="250196457" sldId="2147475655"/>
            <ac:picMk id="12" creationId="{23949BCD-5C4B-E35E-CA32-C397C8E3334F}"/>
          </ac:picMkLst>
        </pc:picChg>
        <pc:cxnChg chg="add mod ord">
          <ac:chgData name="Frode Singstad (NO)" userId="6e7333a6-999f-49b0-9714-e1a4f457baf0" providerId="ADAL" clId="{46661E0C-1B95-40C6-B60E-F35416AC14D5}" dt="2025-10-22T11:59:28.628" v="2131" actId="1036"/>
          <ac:cxnSpMkLst>
            <pc:docMk/>
            <pc:sldMk cId="250196457" sldId="2147475655"/>
            <ac:cxnSpMk id="22" creationId="{81B9DCF1-B0DE-30C0-3B2E-1BCF7A8E1DB9}"/>
          </ac:cxnSpMkLst>
        </pc:cxnChg>
        <pc:cxnChg chg="add mod ord">
          <ac:chgData name="Frode Singstad (NO)" userId="6e7333a6-999f-49b0-9714-e1a4f457baf0" providerId="ADAL" clId="{46661E0C-1B95-40C6-B60E-F35416AC14D5}" dt="2025-10-22T11:01:46.905" v="2122" actId="14100"/>
          <ac:cxnSpMkLst>
            <pc:docMk/>
            <pc:sldMk cId="250196457" sldId="2147475655"/>
            <ac:cxnSpMk id="49" creationId="{B94C6B04-B596-8C90-0C86-7BFCF99DD58D}"/>
          </ac:cxnSpMkLst>
        </pc:cxnChg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019667530" sldId="2147475656"/>
        </pc:sldMkLst>
      </pc:sldChg>
      <pc:sldChg chg="addSp delSp modSp mod">
        <pc:chgData name="Frode Singstad (NO)" userId="6e7333a6-999f-49b0-9714-e1a4f457baf0" providerId="ADAL" clId="{46661E0C-1B95-40C6-B60E-F35416AC14D5}" dt="2025-10-22T11:01:14.704" v="2110" actId="164"/>
        <pc:sldMkLst>
          <pc:docMk/>
          <pc:sldMk cId="2947401411" sldId="2147475657"/>
        </pc:sldMkLst>
        <pc:spChg chg="mod ord">
          <ac:chgData name="Frode Singstad (NO)" userId="6e7333a6-999f-49b0-9714-e1a4f457baf0" providerId="ADAL" clId="{46661E0C-1B95-40C6-B60E-F35416AC14D5}" dt="2025-10-22T10:58:00.788" v="2049"/>
          <ac:spMkLst>
            <pc:docMk/>
            <pc:sldMk cId="2947401411" sldId="2147475657"/>
            <ac:spMk id="2" creationId="{E730C31B-20B2-4BB0-D028-A542CE78C667}"/>
          </ac:spMkLst>
        </pc:spChg>
        <pc:spChg chg="add del mod modVis">
          <ac:chgData name="Frode Singstad (NO)" userId="6e7333a6-999f-49b0-9714-e1a4f457baf0" providerId="ADAL" clId="{46661E0C-1B95-40C6-B60E-F35416AC14D5}" dt="2025-10-22T06:51:27.286" v="335"/>
          <ac:spMkLst>
            <pc:docMk/>
            <pc:sldMk cId="2947401411" sldId="2147475657"/>
            <ac:spMk id="3" creationId="{226EE7FF-0122-60A3-D8F9-223E97E68DAD}"/>
          </ac:spMkLst>
        </pc:spChg>
        <pc:spChg chg="add mod ord">
          <ac:chgData name="Frode Singstad (NO)" userId="6e7333a6-999f-49b0-9714-e1a4f457baf0" providerId="ADAL" clId="{46661E0C-1B95-40C6-B60E-F35416AC14D5}" dt="2025-10-22T11:01:09.620" v="2109" actId="164"/>
          <ac:spMkLst>
            <pc:docMk/>
            <pc:sldMk cId="2947401411" sldId="2147475657"/>
            <ac:spMk id="3" creationId="{EBB1F606-B54D-C15B-7A50-6B4AAB8340A0}"/>
          </ac:spMkLst>
        </pc:spChg>
        <pc:spChg chg="add del mod modVis">
          <ac:chgData name="Frode Singstad (NO)" userId="6e7333a6-999f-49b0-9714-e1a4f457baf0" providerId="ADAL" clId="{46661E0C-1B95-40C6-B60E-F35416AC14D5}" dt="2025-10-22T06:51:28.103" v="364"/>
          <ac:spMkLst>
            <pc:docMk/>
            <pc:sldMk cId="2947401411" sldId="2147475657"/>
            <ac:spMk id="4" creationId="{1118E6B0-F4C5-C18F-6EF8-5B8E48448140}"/>
          </ac:spMkLst>
        </pc:spChg>
        <pc:spChg chg="add del mod modVis">
          <ac:chgData name="Frode Singstad (NO)" userId="6e7333a6-999f-49b0-9714-e1a4f457baf0" providerId="ADAL" clId="{46661E0C-1B95-40C6-B60E-F35416AC14D5}" dt="2025-10-22T10:57:26.517" v="1897"/>
          <ac:spMkLst>
            <pc:docMk/>
            <pc:sldMk cId="2947401411" sldId="2147475657"/>
            <ac:spMk id="4" creationId="{DE53B497-F335-6DF5-AB78-FAD66701BB31}"/>
          </ac:spMkLst>
        </pc:spChg>
        <pc:spChg chg="add mod ord">
          <ac:chgData name="Frode Singstad (NO)" userId="6e7333a6-999f-49b0-9714-e1a4f457baf0" providerId="ADAL" clId="{46661E0C-1B95-40C6-B60E-F35416AC14D5}" dt="2025-10-22T11:01:14.704" v="2110" actId="164"/>
          <ac:spMkLst>
            <pc:docMk/>
            <pc:sldMk cId="2947401411" sldId="2147475657"/>
            <ac:spMk id="5" creationId="{0EA56BDC-3288-8C57-8771-EC6BABE7BE66}"/>
          </ac:spMkLst>
        </pc:spChg>
        <pc:spChg chg="add del mod modVis">
          <ac:chgData name="Frode Singstad (NO)" userId="6e7333a6-999f-49b0-9714-e1a4f457baf0" providerId="ADAL" clId="{46661E0C-1B95-40C6-B60E-F35416AC14D5}" dt="2025-10-22T06:51:29.448" v="394"/>
          <ac:spMkLst>
            <pc:docMk/>
            <pc:sldMk cId="2947401411" sldId="2147475657"/>
            <ac:spMk id="5" creationId="{BCE4B2C2-9E84-E031-4998-F6471169B41D}"/>
          </ac:spMkLst>
        </pc:spChg>
        <pc:spChg chg="add del mod modVis">
          <ac:chgData name="Frode Singstad (NO)" userId="6e7333a6-999f-49b0-9714-e1a4f457baf0" providerId="ADAL" clId="{46661E0C-1B95-40C6-B60E-F35416AC14D5}" dt="2025-10-22T06:51:31.437" v="423"/>
          <ac:spMkLst>
            <pc:docMk/>
            <pc:sldMk cId="2947401411" sldId="2147475657"/>
            <ac:spMk id="6" creationId="{EA6DB347-1863-6907-B23F-5CC913637A8F}"/>
          </ac:spMkLst>
        </pc:spChg>
        <pc:spChg chg="mod ord">
          <ac:chgData name="Frode Singstad (NO)" userId="6e7333a6-999f-49b0-9714-e1a4f457baf0" providerId="ADAL" clId="{46661E0C-1B95-40C6-B60E-F35416AC14D5}" dt="2025-10-22T10:58:00.788" v="2051"/>
          <ac:spMkLst>
            <pc:docMk/>
            <pc:sldMk cId="2947401411" sldId="2147475657"/>
            <ac:spMk id="7" creationId="{0A28258E-125F-7D11-CD16-456D820C5D64}"/>
          </ac:spMkLst>
        </pc:spChg>
        <pc:spChg chg="add mod ord topLvl">
          <ac:chgData name="Frode Singstad (NO)" userId="6e7333a6-999f-49b0-9714-e1a4f457baf0" providerId="ADAL" clId="{46661E0C-1B95-40C6-B60E-F35416AC14D5}" dt="2025-10-22T11:01:09.620" v="2109" actId="164"/>
          <ac:spMkLst>
            <pc:docMk/>
            <pc:sldMk cId="2947401411" sldId="2147475657"/>
            <ac:spMk id="9" creationId="{B09FC409-7CFD-0079-9F3A-22F52C461631}"/>
          </ac:spMkLst>
        </pc:spChg>
        <pc:spChg chg="add mod ord topLvl">
          <ac:chgData name="Frode Singstad (NO)" userId="6e7333a6-999f-49b0-9714-e1a4f457baf0" providerId="ADAL" clId="{46661E0C-1B95-40C6-B60E-F35416AC14D5}" dt="2025-10-22T11:01:09.620" v="2109" actId="164"/>
          <ac:spMkLst>
            <pc:docMk/>
            <pc:sldMk cId="2947401411" sldId="2147475657"/>
            <ac:spMk id="10" creationId="{F357DA05-FAC1-F68A-9C5B-CC1BFADF5F00}"/>
          </ac:spMkLst>
        </pc:spChg>
        <pc:spChg chg="add mod">
          <ac:chgData name="Frode Singstad (NO)" userId="6e7333a6-999f-49b0-9714-e1a4f457baf0" providerId="ADAL" clId="{46661E0C-1B95-40C6-B60E-F35416AC14D5}" dt="2025-10-22T10:57:46.501" v="1958" actId="165"/>
          <ac:spMkLst>
            <pc:docMk/>
            <pc:sldMk cId="2947401411" sldId="2147475657"/>
            <ac:spMk id="11" creationId="{FE61FE2A-CB8E-693D-0286-A5B1F2359F55}"/>
          </ac:spMkLst>
        </pc:spChg>
        <pc:spChg chg="add mod">
          <ac:chgData name="Frode Singstad (NO)" userId="6e7333a6-999f-49b0-9714-e1a4f457baf0" providerId="ADAL" clId="{46661E0C-1B95-40C6-B60E-F35416AC14D5}" dt="2025-10-22T10:57:46.501" v="1958" actId="165"/>
          <ac:spMkLst>
            <pc:docMk/>
            <pc:sldMk cId="2947401411" sldId="2147475657"/>
            <ac:spMk id="12" creationId="{C91D84CF-CC68-605A-80E1-905897145E64}"/>
          </ac:spMkLst>
        </pc:spChg>
        <pc:spChg chg="mod ord">
          <ac:chgData name="Frode Singstad (NO)" userId="6e7333a6-999f-49b0-9714-e1a4f457baf0" providerId="ADAL" clId="{46661E0C-1B95-40C6-B60E-F35416AC14D5}" dt="2025-10-22T10:58:00.788" v="2053"/>
          <ac:spMkLst>
            <pc:docMk/>
            <pc:sldMk cId="2947401411" sldId="2147475657"/>
            <ac:spMk id="13" creationId="{03A83249-8FDC-FBF9-87D4-56D4A6F1C90F}"/>
          </ac:spMkLst>
        </pc:spChg>
        <pc:spChg chg="add mod">
          <ac:chgData name="Frode Singstad (NO)" userId="6e7333a6-999f-49b0-9714-e1a4f457baf0" providerId="ADAL" clId="{46661E0C-1B95-40C6-B60E-F35416AC14D5}" dt="2025-10-22T10:57:46.501" v="1958" actId="165"/>
          <ac:spMkLst>
            <pc:docMk/>
            <pc:sldMk cId="2947401411" sldId="2147475657"/>
            <ac:spMk id="16" creationId="{E42E9E33-1A3E-C205-4F1F-6C2B57F1E84C}"/>
          </ac:spMkLst>
        </pc:spChg>
        <pc:spChg chg="add mod">
          <ac:chgData name="Frode Singstad (NO)" userId="6e7333a6-999f-49b0-9714-e1a4f457baf0" providerId="ADAL" clId="{46661E0C-1B95-40C6-B60E-F35416AC14D5}" dt="2025-10-22T10:57:46.501" v="1958" actId="165"/>
          <ac:spMkLst>
            <pc:docMk/>
            <pc:sldMk cId="2947401411" sldId="2147475657"/>
            <ac:spMk id="17" creationId="{DBEA5542-563F-F58C-E6F1-FE451FA264AB}"/>
          </ac:spMkLst>
        </pc:spChg>
        <pc:spChg chg="mod ord">
          <ac:chgData name="Frode Singstad (NO)" userId="6e7333a6-999f-49b0-9714-e1a4f457baf0" providerId="ADAL" clId="{46661E0C-1B95-40C6-B60E-F35416AC14D5}" dt="2025-10-22T10:58:00.788" v="2055"/>
          <ac:spMkLst>
            <pc:docMk/>
            <pc:sldMk cId="2947401411" sldId="2147475657"/>
            <ac:spMk id="19" creationId="{2586B524-B920-13DC-7922-5C1399FF1935}"/>
          </ac:spMkLst>
        </pc:spChg>
        <pc:spChg chg="mod ord topLvl">
          <ac:chgData name="Frode Singstad (NO)" userId="6e7333a6-999f-49b0-9714-e1a4f457baf0" providerId="ADAL" clId="{46661E0C-1B95-40C6-B60E-F35416AC14D5}" dt="2025-10-22T10:58:00.788" v="2057"/>
          <ac:spMkLst>
            <pc:docMk/>
            <pc:sldMk cId="2947401411" sldId="2147475657"/>
            <ac:spMk id="21" creationId="{602158AE-A034-FCDB-51E2-DD179EEAD83B}"/>
          </ac:spMkLst>
        </pc:spChg>
        <pc:spChg chg="mod">
          <ac:chgData name="Frode Singstad (NO)" userId="6e7333a6-999f-49b0-9714-e1a4f457baf0" providerId="ADAL" clId="{46661E0C-1B95-40C6-B60E-F35416AC14D5}" dt="2025-10-22T09:03:14.624" v="1401" actId="165"/>
          <ac:spMkLst>
            <pc:docMk/>
            <pc:sldMk cId="2947401411" sldId="2147475657"/>
            <ac:spMk id="24" creationId="{4AF7D6BB-64D5-CB38-8929-BF0486036689}"/>
          </ac:spMkLst>
        </pc:spChg>
        <pc:spChg chg="mod">
          <ac:chgData name="Frode Singstad (NO)" userId="6e7333a6-999f-49b0-9714-e1a4f457baf0" providerId="ADAL" clId="{46661E0C-1B95-40C6-B60E-F35416AC14D5}" dt="2025-10-22T09:03:14.624" v="1401" actId="165"/>
          <ac:spMkLst>
            <pc:docMk/>
            <pc:sldMk cId="2947401411" sldId="2147475657"/>
            <ac:spMk id="25" creationId="{E093F3A8-3E14-A2EC-A737-604FFA312A0B}"/>
          </ac:spMkLst>
        </pc:spChg>
        <pc:spChg chg="mod">
          <ac:chgData name="Frode Singstad (NO)" userId="6e7333a6-999f-49b0-9714-e1a4f457baf0" providerId="ADAL" clId="{46661E0C-1B95-40C6-B60E-F35416AC14D5}" dt="2025-10-22T09:03:14.624" v="1401" actId="165"/>
          <ac:spMkLst>
            <pc:docMk/>
            <pc:sldMk cId="2947401411" sldId="2147475657"/>
            <ac:spMk id="26" creationId="{6A768905-CD18-FE8D-67CF-098CDED64D66}"/>
          </ac:spMkLst>
        </pc:spChg>
        <pc:spChg chg="mod">
          <ac:chgData name="Frode Singstad (NO)" userId="6e7333a6-999f-49b0-9714-e1a4f457baf0" providerId="ADAL" clId="{46661E0C-1B95-40C6-B60E-F35416AC14D5}" dt="2025-10-22T09:03:14.624" v="1401" actId="165"/>
          <ac:spMkLst>
            <pc:docMk/>
            <pc:sldMk cId="2947401411" sldId="2147475657"/>
            <ac:spMk id="27" creationId="{632AD9DF-80AE-4698-A7CD-144F099645EC}"/>
          </ac:spMkLst>
        </pc:spChg>
        <pc:spChg chg="add mod ord topLvl">
          <ac:chgData name="Frode Singstad (NO)" userId="6e7333a6-999f-49b0-9714-e1a4f457baf0" providerId="ADAL" clId="{46661E0C-1B95-40C6-B60E-F35416AC14D5}" dt="2025-10-22T11:01:14.704" v="2110" actId="164"/>
          <ac:spMkLst>
            <pc:docMk/>
            <pc:sldMk cId="2947401411" sldId="2147475657"/>
            <ac:spMk id="28" creationId="{7151B790-D186-78D5-3644-8031F5794F13}"/>
          </ac:spMkLst>
        </pc:spChg>
        <pc:spChg chg="add mod ord topLvl">
          <ac:chgData name="Frode Singstad (NO)" userId="6e7333a6-999f-49b0-9714-e1a4f457baf0" providerId="ADAL" clId="{46661E0C-1B95-40C6-B60E-F35416AC14D5}" dt="2025-10-22T11:01:14.704" v="2110" actId="164"/>
          <ac:spMkLst>
            <pc:docMk/>
            <pc:sldMk cId="2947401411" sldId="2147475657"/>
            <ac:spMk id="29" creationId="{D57AE091-6F2E-C6BD-C05E-EE51F768153D}"/>
          </ac:spMkLst>
        </pc:spChg>
        <pc:grpChg chg="add mod ord topLvl">
          <ac:chgData name="Frode Singstad (NO)" userId="6e7333a6-999f-49b0-9714-e1a4f457baf0" providerId="ADAL" clId="{46661E0C-1B95-40C6-B60E-F35416AC14D5}" dt="2025-10-22T11:01:09.620" v="2109" actId="164"/>
          <ac:grpSpMkLst>
            <pc:docMk/>
            <pc:sldMk cId="2947401411" sldId="2147475657"/>
            <ac:grpSpMk id="18" creationId="{6FB47291-70E5-5624-A613-718D5059FE99}"/>
          </ac:grpSpMkLst>
        </pc:grpChg>
        <pc:grpChg chg="add mod ord topLvl">
          <ac:chgData name="Frode Singstad (NO)" userId="6e7333a6-999f-49b0-9714-e1a4f457baf0" providerId="ADAL" clId="{46661E0C-1B95-40C6-B60E-F35416AC14D5}" dt="2025-10-22T11:01:14.704" v="2110" actId="164"/>
          <ac:grpSpMkLst>
            <pc:docMk/>
            <pc:sldMk cId="2947401411" sldId="2147475657"/>
            <ac:grpSpMk id="23" creationId="{2F21FF52-1088-5992-D029-04AB8D963110}"/>
          </ac:grpSpMkLst>
        </pc:grpChg>
        <pc:grpChg chg="add del mod ord">
          <ac:chgData name="Frode Singstad (NO)" userId="6e7333a6-999f-49b0-9714-e1a4f457baf0" providerId="ADAL" clId="{46661E0C-1B95-40C6-B60E-F35416AC14D5}" dt="2025-10-22T10:57:46.501" v="1958" actId="165"/>
          <ac:grpSpMkLst>
            <pc:docMk/>
            <pc:sldMk cId="2947401411" sldId="2147475657"/>
            <ac:grpSpMk id="31" creationId="{1B6FDA3A-AE2F-7F62-77AE-4E5ACBB77442}"/>
          </ac:grpSpMkLst>
        </pc:grpChg>
        <pc:grpChg chg="add mod">
          <ac:chgData name="Frode Singstad (NO)" userId="6e7333a6-999f-49b0-9714-e1a4f457baf0" providerId="ADAL" clId="{46661E0C-1B95-40C6-B60E-F35416AC14D5}" dt="2025-10-22T11:01:09.620" v="2109" actId="164"/>
          <ac:grpSpMkLst>
            <pc:docMk/>
            <pc:sldMk cId="2947401411" sldId="2147475657"/>
            <ac:grpSpMk id="32" creationId="{072BF6B9-2586-D7AF-1A10-1522A5657EE8}"/>
          </ac:grpSpMkLst>
        </pc:grpChg>
        <pc:grpChg chg="add del mod">
          <ac:chgData name="Frode Singstad (NO)" userId="6e7333a6-999f-49b0-9714-e1a4f457baf0" providerId="ADAL" clId="{46661E0C-1B95-40C6-B60E-F35416AC14D5}" dt="2025-10-22T08:58:42.990" v="1290" actId="165"/>
          <ac:grpSpMkLst>
            <pc:docMk/>
            <pc:sldMk cId="2947401411" sldId="2147475657"/>
            <ac:grpSpMk id="32" creationId="{16E9A953-876D-36CE-F45E-13D01D3A0549}"/>
          </ac:grpSpMkLst>
        </pc:grpChg>
        <pc:grpChg chg="add mod">
          <ac:chgData name="Frode Singstad (NO)" userId="6e7333a6-999f-49b0-9714-e1a4f457baf0" providerId="ADAL" clId="{46661E0C-1B95-40C6-B60E-F35416AC14D5}" dt="2025-10-22T11:01:14.704" v="2110" actId="164"/>
          <ac:grpSpMkLst>
            <pc:docMk/>
            <pc:sldMk cId="2947401411" sldId="2147475657"/>
            <ac:grpSpMk id="33" creationId="{25711F20-1516-5A60-FDE2-2805488B4925}"/>
          </ac:grpSpMkLst>
        </pc:grpChg>
        <pc:grpChg chg="add del mod">
          <ac:chgData name="Frode Singstad (NO)" userId="6e7333a6-999f-49b0-9714-e1a4f457baf0" providerId="ADAL" clId="{46661E0C-1B95-40C6-B60E-F35416AC14D5}" dt="2025-10-22T09:03:14.624" v="1401" actId="165"/>
          <ac:grpSpMkLst>
            <pc:docMk/>
            <pc:sldMk cId="2947401411" sldId="2147475657"/>
            <ac:grpSpMk id="33" creationId="{3E2BAE16-F462-A260-72DB-7F3D73A055EC}"/>
          </ac:grpSpMkLst>
        </pc:grpChg>
        <pc:graphicFrameChg chg="mod">
          <ac:chgData name="Frode Singstad (NO)" userId="6e7333a6-999f-49b0-9714-e1a4f457baf0" providerId="ADAL" clId="{46661E0C-1B95-40C6-B60E-F35416AC14D5}" dt="2025-10-22T10:58:00.788" v="2067"/>
          <ac:graphicFrameMkLst>
            <pc:docMk/>
            <pc:sldMk cId="2947401411" sldId="2147475657"/>
            <ac:graphicFrameMk id="8" creationId="{47849364-D695-8D31-F840-B2D7DF1DCD92}"/>
          </ac:graphicFrameMkLst>
        </pc:graphicFrameChg>
        <pc:picChg chg="mod ord topLvl modCrop">
          <ac:chgData name="Frode Singstad (NO)" userId="6e7333a6-999f-49b0-9714-e1a4f457baf0" providerId="ADAL" clId="{46661E0C-1B95-40C6-B60E-F35416AC14D5}" dt="2025-10-22T11:01:09.620" v="2109" actId="164"/>
          <ac:picMkLst>
            <pc:docMk/>
            <pc:sldMk cId="2947401411" sldId="2147475657"/>
            <ac:picMk id="20" creationId="{6C2E0CF1-46F3-C89E-6EC5-2BD273ECA407}"/>
          </ac:picMkLst>
        </pc:picChg>
        <pc:picChg chg="mod ord topLvl modCrop">
          <ac:chgData name="Frode Singstad (NO)" userId="6e7333a6-999f-49b0-9714-e1a4f457baf0" providerId="ADAL" clId="{46661E0C-1B95-40C6-B60E-F35416AC14D5}" dt="2025-10-22T10:58:00.788" v="2033"/>
          <ac:picMkLst>
            <pc:docMk/>
            <pc:sldMk cId="2947401411" sldId="2147475657"/>
            <ac:picMk id="22" creationId="{8586D458-D6EA-52B2-61EB-BD8293A088D8}"/>
          </ac:picMkLst>
        </pc:picChg>
        <pc:cxnChg chg="add del">
          <ac:chgData name="Frode Singstad (NO)" userId="6e7333a6-999f-49b0-9714-e1a4f457baf0" providerId="ADAL" clId="{46661E0C-1B95-40C6-B60E-F35416AC14D5}" dt="2025-10-22T10:58:23.717" v="2070" actId="478"/>
          <ac:cxnSpMkLst>
            <pc:docMk/>
            <pc:sldMk cId="2947401411" sldId="2147475657"/>
            <ac:cxnSpMk id="14" creationId="{4E1DB848-52D3-25C6-429B-3C914DEB0B6B}"/>
          </ac:cxnSpMkLst>
        </pc:cxnChg>
        <pc:cxnChg chg="add mod ord topLvl">
          <ac:chgData name="Frode Singstad (NO)" userId="6e7333a6-999f-49b0-9714-e1a4f457baf0" providerId="ADAL" clId="{46661E0C-1B95-40C6-B60E-F35416AC14D5}" dt="2025-10-22T11:01:09.620" v="2109" actId="164"/>
          <ac:cxnSpMkLst>
            <pc:docMk/>
            <pc:sldMk cId="2947401411" sldId="2147475657"/>
            <ac:cxnSpMk id="15" creationId="{8B056662-7B4B-54FC-3332-21F91BF047C0}"/>
          </ac:cxnSpMkLst>
        </pc:cxnChg>
        <pc:cxnChg chg="add mod ord topLvl">
          <ac:chgData name="Frode Singstad (NO)" userId="6e7333a6-999f-49b0-9714-e1a4f457baf0" providerId="ADAL" clId="{46661E0C-1B95-40C6-B60E-F35416AC14D5}" dt="2025-10-22T11:01:14.704" v="2110" actId="164"/>
          <ac:cxnSpMkLst>
            <pc:docMk/>
            <pc:sldMk cId="2947401411" sldId="2147475657"/>
            <ac:cxnSpMk id="30" creationId="{6455E54E-AD4A-B226-4EC5-72C8F681A460}"/>
          </ac:cxnSpMkLst>
        </pc:cxnChg>
      </pc:sldChg>
      <pc:sldChg chg="delSp del mod">
        <pc:chgData name="Frode Singstad (NO)" userId="6e7333a6-999f-49b0-9714-e1a4f457baf0" providerId="ADAL" clId="{46661E0C-1B95-40C6-B60E-F35416AC14D5}" dt="2025-10-22T08:50:54.556" v="943" actId="2696"/>
        <pc:sldMkLst>
          <pc:docMk/>
          <pc:sldMk cId="126751161" sldId="2147475658"/>
        </pc:sldMkLst>
        <pc:spChg chg="del">
          <ac:chgData name="Frode Singstad (NO)" userId="6e7333a6-999f-49b0-9714-e1a4f457baf0" providerId="ADAL" clId="{46661E0C-1B95-40C6-B60E-F35416AC14D5}" dt="2025-10-22T06:50:11.804" v="308" actId="478"/>
          <ac:spMkLst>
            <pc:docMk/>
            <pc:sldMk cId="126751161" sldId="2147475658"/>
            <ac:spMk id="6" creationId="{98F12161-2762-2F46-6F3D-62D3133A81AD}"/>
          </ac:spMkLst>
        </pc:spChg>
      </pc:sldChg>
      <pc:sldChg chg="del ord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3052489705" sldId="2147475659"/>
        </pc:sldMkLst>
      </pc:sldChg>
      <pc:sldChg chg="modSp del mod modShow">
        <pc:chgData name="Frode Singstad (NO)" userId="6e7333a6-999f-49b0-9714-e1a4f457baf0" providerId="ADAL" clId="{46661E0C-1B95-40C6-B60E-F35416AC14D5}" dt="2025-10-23T07:50:26.128" v="3239" actId="2696"/>
        <pc:sldMkLst>
          <pc:docMk/>
          <pc:sldMk cId="2638452686" sldId="2147475660"/>
        </pc:sldMkLst>
        <pc:spChg chg="mod">
          <ac:chgData name="Frode Singstad (NO)" userId="6e7333a6-999f-49b0-9714-e1a4f457baf0" providerId="ADAL" clId="{46661E0C-1B95-40C6-B60E-F35416AC14D5}" dt="2025-10-22T17:56:43.970" v="2371" actId="6549"/>
          <ac:spMkLst>
            <pc:docMk/>
            <pc:sldMk cId="2638452686" sldId="2147475660"/>
            <ac:spMk id="4" creationId="{F36D0A01-95E7-EA08-4E70-FB67AA5DA749}"/>
          </ac:spMkLst>
        </pc:spChg>
      </pc:sldChg>
      <pc:sldChg chg="addSp delSp modSp mod">
        <pc:chgData name="Frode Singstad (NO)" userId="6e7333a6-999f-49b0-9714-e1a4f457baf0" providerId="ADAL" clId="{46661E0C-1B95-40C6-B60E-F35416AC14D5}" dt="2025-10-22T17:46:04.072" v="2326"/>
        <pc:sldMkLst>
          <pc:docMk/>
          <pc:sldMk cId="223164002" sldId="2147475661"/>
        </pc:sldMkLst>
        <pc:spChg chg="add del mod modVis">
          <ac:chgData name="Frode Singstad (NO)" userId="6e7333a6-999f-49b0-9714-e1a4f457baf0" providerId="ADAL" clId="{46661E0C-1B95-40C6-B60E-F35416AC14D5}" dt="2025-10-22T08:16:48.881" v="668"/>
          <ac:spMkLst>
            <pc:docMk/>
            <pc:sldMk cId="223164002" sldId="2147475661"/>
            <ac:spMk id="2" creationId="{1F0BFD14-05DC-752A-1198-9F7049989081}"/>
          </ac:spMkLst>
        </pc:spChg>
        <pc:spChg chg="add del mod modVis">
          <ac:chgData name="Frode Singstad (NO)" userId="6e7333a6-999f-49b0-9714-e1a4f457baf0" providerId="ADAL" clId="{46661E0C-1B95-40C6-B60E-F35416AC14D5}" dt="2025-10-22T17:45:40.060" v="2269"/>
          <ac:spMkLst>
            <pc:docMk/>
            <pc:sldMk cId="223164002" sldId="2147475661"/>
            <ac:spMk id="2" creationId="{C4BA57C6-C177-8E0C-E21A-F9FC5A167335}"/>
          </ac:spMkLst>
        </pc:spChg>
        <pc:spChg chg="add del mod modVis">
          <ac:chgData name="Frode Singstad (NO)" userId="6e7333a6-999f-49b0-9714-e1a4f457baf0" providerId="ADAL" clId="{46661E0C-1B95-40C6-B60E-F35416AC14D5}" dt="2025-10-22T17:46:00.849" v="2298"/>
          <ac:spMkLst>
            <pc:docMk/>
            <pc:sldMk cId="223164002" sldId="2147475661"/>
            <ac:spMk id="3" creationId="{74B7F2A0-7246-C0F7-25CB-1DCF81AAB6F9}"/>
          </ac:spMkLst>
        </pc:spChg>
        <pc:spChg chg="add del mod modVis">
          <ac:chgData name="Frode Singstad (NO)" userId="6e7333a6-999f-49b0-9714-e1a4f457baf0" providerId="ADAL" clId="{46661E0C-1B95-40C6-B60E-F35416AC14D5}" dt="2025-10-22T17:46:04.072" v="2324"/>
          <ac:spMkLst>
            <pc:docMk/>
            <pc:sldMk cId="223164002" sldId="2147475661"/>
            <ac:spMk id="4" creationId="{2093DCCE-A7E7-4F53-C17C-55161E117110}"/>
          </ac:spMkLst>
        </pc:spChg>
        <pc:spChg chg="mod ord">
          <ac:chgData name="Frode Singstad (NO)" userId="6e7333a6-999f-49b0-9714-e1a4f457baf0" providerId="ADAL" clId="{46661E0C-1B95-40C6-B60E-F35416AC14D5}" dt="2025-10-22T17:45:40.044" v="2235"/>
          <ac:spMkLst>
            <pc:docMk/>
            <pc:sldMk cId="223164002" sldId="2147475661"/>
            <ac:spMk id="6" creationId="{E16D5F80-C5C7-B7A0-9F9F-6A7E60454D99}"/>
          </ac:spMkLst>
        </pc:spChg>
        <pc:spChg chg="mod ord">
          <ac:chgData name="Frode Singstad (NO)" userId="6e7333a6-999f-49b0-9714-e1a4f457baf0" providerId="ADAL" clId="{46661E0C-1B95-40C6-B60E-F35416AC14D5}" dt="2025-10-22T17:46:04.056" v="2303" actId="948"/>
          <ac:spMkLst>
            <pc:docMk/>
            <pc:sldMk cId="223164002" sldId="2147475661"/>
            <ac:spMk id="7" creationId="{184868AF-3432-D010-F7D9-D7E3288FDC09}"/>
          </ac:spMkLst>
        </pc:spChg>
        <pc:spChg chg="mod ord">
          <ac:chgData name="Frode Singstad (NO)" userId="6e7333a6-999f-49b0-9714-e1a4f457baf0" providerId="ADAL" clId="{46661E0C-1B95-40C6-B60E-F35416AC14D5}" dt="2025-10-22T17:45:40.044" v="2239"/>
          <ac:spMkLst>
            <pc:docMk/>
            <pc:sldMk cId="223164002" sldId="2147475661"/>
            <ac:spMk id="23" creationId="{CE361BA9-5F9C-59A0-5E0D-2062D232BB54}"/>
          </ac:spMkLst>
        </pc:spChg>
        <pc:spChg chg="mod ord">
          <ac:chgData name="Frode Singstad (NO)" userId="6e7333a6-999f-49b0-9714-e1a4f457baf0" providerId="ADAL" clId="{46661E0C-1B95-40C6-B60E-F35416AC14D5}" dt="2025-10-22T17:45:48.970" v="2272" actId="207"/>
          <ac:spMkLst>
            <pc:docMk/>
            <pc:sldMk cId="223164002" sldId="2147475661"/>
            <ac:spMk id="27" creationId="{51781C07-DE8B-0F6A-E390-4D0A2C7858E3}"/>
          </ac:spMkLst>
        </pc:spChg>
        <pc:spChg chg="mod ord">
          <ac:chgData name="Frode Singstad (NO)" userId="6e7333a6-999f-49b0-9714-e1a4f457baf0" providerId="ADAL" clId="{46661E0C-1B95-40C6-B60E-F35416AC14D5}" dt="2025-10-22T17:45:40.044" v="2249"/>
          <ac:spMkLst>
            <pc:docMk/>
            <pc:sldMk cId="223164002" sldId="2147475661"/>
            <ac:spMk id="28" creationId="{365C0E69-EAAD-171A-9968-296A3D51AB0B}"/>
          </ac:spMkLst>
        </pc:spChg>
        <pc:spChg chg="mod ord">
          <ac:chgData name="Frode Singstad (NO)" userId="6e7333a6-999f-49b0-9714-e1a4f457baf0" providerId="ADAL" clId="{46661E0C-1B95-40C6-B60E-F35416AC14D5}" dt="2025-10-22T17:45:40.044" v="2251"/>
          <ac:spMkLst>
            <pc:docMk/>
            <pc:sldMk cId="223164002" sldId="2147475661"/>
            <ac:spMk id="29" creationId="{A13D1155-F0F9-87C5-A9FF-4D5E298664AD}"/>
          </ac:spMkLst>
        </pc:spChg>
        <pc:spChg chg="mod ord">
          <ac:chgData name="Frode Singstad (NO)" userId="6e7333a6-999f-49b0-9714-e1a4f457baf0" providerId="ADAL" clId="{46661E0C-1B95-40C6-B60E-F35416AC14D5}" dt="2025-10-22T17:45:40.044" v="2253"/>
          <ac:spMkLst>
            <pc:docMk/>
            <pc:sldMk cId="223164002" sldId="2147475661"/>
            <ac:spMk id="30" creationId="{D3974611-A2A6-3CBE-CF0B-A86472C4F51C}"/>
          </ac:spMkLst>
        </pc:spChg>
        <pc:spChg chg="mod ord">
          <ac:chgData name="Frode Singstad (NO)" userId="6e7333a6-999f-49b0-9714-e1a4f457baf0" providerId="ADAL" clId="{46661E0C-1B95-40C6-B60E-F35416AC14D5}" dt="2025-10-22T17:45:40.044" v="2255"/>
          <ac:spMkLst>
            <pc:docMk/>
            <pc:sldMk cId="223164002" sldId="2147475661"/>
            <ac:spMk id="31" creationId="{D89FB01C-254E-CA56-8E2F-7B850BCCEBDF}"/>
          </ac:spMkLst>
        </pc:spChg>
        <pc:spChg chg="mod ord">
          <ac:chgData name="Frode Singstad (NO)" userId="6e7333a6-999f-49b0-9714-e1a4f457baf0" providerId="ADAL" clId="{46661E0C-1B95-40C6-B60E-F35416AC14D5}" dt="2025-10-22T17:45:40.044" v="2259"/>
          <ac:spMkLst>
            <pc:docMk/>
            <pc:sldMk cId="223164002" sldId="2147475661"/>
            <ac:spMk id="33" creationId="{AE97EE4D-5EAC-799F-4D93-31289B81F660}"/>
          </ac:spMkLst>
        </pc:spChg>
        <pc:spChg chg="mod">
          <ac:chgData name="Frode Singstad (NO)" userId="6e7333a6-999f-49b0-9714-e1a4f457baf0" providerId="ADAL" clId="{46661E0C-1B95-40C6-B60E-F35416AC14D5}" dt="2025-10-22T08:16:42.187" v="645" actId="1076"/>
          <ac:spMkLst>
            <pc:docMk/>
            <pc:sldMk cId="223164002" sldId="2147475661"/>
            <ac:spMk id="40" creationId="{4760DE78-2EA2-C588-E008-3063A5C3754B}"/>
          </ac:spMkLst>
        </pc:spChg>
        <pc:grpChg chg="mod ord">
          <ac:chgData name="Frode Singstad (NO)" userId="6e7333a6-999f-49b0-9714-e1a4f457baf0" providerId="ADAL" clId="{46661E0C-1B95-40C6-B60E-F35416AC14D5}" dt="2025-10-22T17:45:40.044" v="2261"/>
          <ac:grpSpMkLst>
            <pc:docMk/>
            <pc:sldMk cId="223164002" sldId="2147475661"/>
            <ac:grpSpMk id="34" creationId="{F9CD4D21-4266-9121-6C8B-0A63D565AB10}"/>
          </ac:grpSpMkLst>
        </pc:grpChg>
        <pc:grpChg chg="mod ord">
          <ac:chgData name="Frode Singstad (NO)" userId="6e7333a6-999f-49b0-9714-e1a4f457baf0" providerId="ADAL" clId="{46661E0C-1B95-40C6-B60E-F35416AC14D5}" dt="2025-10-22T17:45:40.044" v="2265"/>
          <ac:grpSpMkLst>
            <pc:docMk/>
            <pc:sldMk cId="223164002" sldId="2147475661"/>
            <ac:grpSpMk id="41" creationId="{64C8FAEF-7B09-8659-7DD2-8FB30CF789D7}"/>
          </ac:grpSpMkLst>
        </pc:grpChg>
        <pc:graphicFrameChg chg="mod">
          <ac:chgData name="Frode Singstad (NO)" userId="6e7333a6-999f-49b0-9714-e1a4f457baf0" providerId="ADAL" clId="{46661E0C-1B95-40C6-B60E-F35416AC14D5}" dt="2025-10-22T17:46:04.072" v="2326"/>
          <ac:graphicFrameMkLst>
            <pc:docMk/>
            <pc:sldMk cId="223164002" sldId="2147475661"/>
            <ac:graphicFrameMk id="12" creationId="{F3136F7E-B155-35AF-1910-37DCE33044EB}"/>
          </ac:graphicFrameMkLst>
        </pc:graphicFrameChg>
        <pc:picChg chg="mod ord">
          <ac:chgData name="Frode Singstad (NO)" userId="6e7333a6-999f-49b0-9714-e1a4f457baf0" providerId="ADAL" clId="{46661E0C-1B95-40C6-B60E-F35416AC14D5}" dt="2025-10-22T17:45:40.044" v="2231"/>
          <ac:picMkLst>
            <pc:docMk/>
            <pc:sldMk cId="223164002" sldId="2147475661"/>
            <ac:picMk id="21" creationId="{8F91B2B8-8824-5F7E-9945-AB9A9C5D00CE}"/>
          </ac:picMkLst>
        </pc:picChg>
        <pc:picChg chg="mod ord">
          <ac:chgData name="Frode Singstad (NO)" userId="6e7333a6-999f-49b0-9714-e1a4f457baf0" providerId="ADAL" clId="{46661E0C-1B95-40C6-B60E-F35416AC14D5}" dt="2025-10-22T17:45:40.044" v="2237"/>
          <ac:picMkLst>
            <pc:docMk/>
            <pc:sldMk cId="223164002" sldId="2147475661"/>
            <ac:picMk id="22" creationId="{D8D49137-026D-72AD-7D16-A99330C1C2E6}"/>
          </ac:picMkLst>
        </pc:picChg>
        <pc:picChg chg="mod ord">
          <ac:chgData name="Frode Singstad (NO)" userId="6e7333a6-999f-49b0-9714-e1a4f457baf0" providerId="ADAL" clId="{46661E0C-1B95-40C6-B60E-F35416AC14D5}" dt="2025-10-22T17:45:40.044" v="2241"/>
          <ac:picMkLst>
            <pc:docMk/>
            <pc:sldMk cId="223164002" sldId="2147475661"/>
            <ac:picMk id="24" creationId="{57A8D589-A2B2-66A6-DA24-D7EF33CCB7E1}"/>
          </ac:picMkLst>
        </pc:picChg>
        <pc:picChg chg="mod ord">
          <ac:chgData name="Frode Singstad (NO)" userId="6e7333a6-999f-49b0-9714-e1a4f457baf0" providerId="ADAL" clId="{46661E0C-1B95-40C6-B60E-F35416AC14D5}" dt="2025-10-22T17:45:40.044" v="2243"/>
          <ac:picMkLst>
            <pc:docMk/>
            <pc:sldMk cId="223164002" sldId="2147475661"/>
            <ac:picMk id="25" creationId="{B0A53D86-56CD-DC5C-3D6F-35FDD276A55E}"/>
          </ac:picMkLst>
        </pc:picChg>
        <pc:picChg chg="mod ord">
          <ac:chgData name="Frode Singstad (NO)" userId="6e7333a6-999f-49b0-9714-e1a4f457baf0" providerId="ADAL" clId="{46661E0C-1B95-40C6-B60E-F35416AC14D5}" dt="2025-10-22T17:45:40.044" v="2245"/>
          <ac:picMkLst>
            <pc:docMk/>
            <pc:sldMk cId="223164002" sldId="2147475661"/>
            <ac:picMk id="26" creationId="{2AE1DEB3-0378-A60D-448F-CF54AE474978}"/>
          </ac:picMkLst>
        </pc:picChg>
        <pc:picChg chg="mod ord">
          <ac:chgData name="Frode Singstad (NO)" userId="6e7333a6-999f-49b0-9714-e1a4f457baf0" providerId="ADAL" clId="{46661E0C-1B95-40C6-B60E-F35416AC14D5}" dt="2025-10-22T17:45:40.044" v="2257"/>
          <ac:picMkLst>
            <pc:docMk/>
            <pc:sldMk cId="223164002" sldId="2147475661"/>
            <ac:picMk id="32" creationId="{6EFDE65C-7760-F65D-B1E6-A43C76E640C8}"/>
          </ac:picMkLst>
        </pc:picChg>
        <pc:picChg chg="mod ord">
          <ac:chgData name="Frode Singstad (NO)" userId="6e7333a6-999f-49b0-9714-e1a4f457baf0" providerId="ADAL" clId="{46661E0C-1B95-40C6-B60E-F35416AC14D5}" dt="2025-10-22T17:45:40.044" v="2263"/>
          <ac:picMkLst>
            <pc:docMk/>
            <pc:sldMk cId="223164002" sldId="2147475661"/>
            <ac:picMk id="37" creationId="{A4836531-931C-95EE-ACDC-57F51C28C335}"/>
          </ac:picMkLst>
        </pc:picChg>
        <pc:picChg chg="mod ord">
          <ac:chgData name="Frode Singstad (NO)" userId="6e7333a6-999f-49b0-9714-e1a4f457baf0" providerId="ADAL" clId="{46661E0C-1B95-40C6-B60E-F35416AC14D5}" dt="2025-10-22T17:45:40.044" v="2267"/>
          <ac:picMkLst>
            <pc:docMk/>
            <pc:sldMk cId="223164002" sldId="2147475661"/>
            <ac:picMk id="39" creationId="{C8D88A98-540B-534B-7539-94507B5E72A1}"/>
          </ac:picMkLst>
        </pc:picChg>
      </pc:sldChg>
      <pc:sldChg chg="addSp delSp modSp mod">
        <pc:chgData name="Frode Singstad (NO)" userId="6e7333a6-999f-49b0-9714-e1a4f457baf0" providerId="ADAL" clId="{46661E0C-1B95-40C6-B60E-F35416AC14D5}" dt="2025-10-22T17:46:29.049" v="2327" actId="1076"/>
        <pc:sldMkLst>
          <pc:docMk/>
          <pc:sldMk cId="1918188371" sldId="2147475662"/>
        </pc:sldMkLst>
        <pc:spChg chg="mod">
          <ac:chgData name="Frode Singstad (NO)" userId="6e7333a6-999f-49b0-9714-e1a4f457baf0" providerId="ADAL" clId="{46661E0C-1B95-40C6-B60E-F35416AC14D5}" dt="2025-10-22T10:59:27.714" v="2076" actId="948"/>
          <ac:spMkLst>
            <pc:docMk/>
            <pc:sldMk cId="1918188371" sldId="2147475662"/>
            <ac:spMk id="2" creationId="{F5E29306-6440-24A5-A236-BFC12F2DCBFE}"/>
          </ac:spMkLst>
        </pc:spChg>
        <pc:spChg chg="mod">
          <ac:chgData name="Frode Singstad (NO)" userId="6e7333a6-999f-49b0-9714-e1a4f457baf0" providerId="ADAL" clId="{46661E0C-1B95-40C6-B60E-F35416AC14D5}" dt="2025-10-22T17:46:29.049" v="2327" actId="1076"/>
          <ac:spMkLst>
            <pc:docMk/>
            <pc:sldMk cId="1918188371" sldId="2147475662"/>
            <ac:spMk id="3" creationId="{7C3CB859-DC6E-62D7-DB07-4CCAF97CED8F}"/>
          </ac:spMkLst>
        </pc:spChg>
        <pc:spChg chg="add del mod modVis">
          <ac:chgData name="Frode Singstad (NO)" userId="6e7333a6-999f-49b0-9714-e1a4f457baf0" providerId="ADAL" clId="{46661E0C-1B95-40C6-B60E-F35416AC14D5}" dt="2025-10-22T10:59:27.727" v="2097"/>
          <ac:spMkLst>
            <pc:docMk/>
            <pc:sldMk cId="1918188371" sldId="2147475662"/>
            <ac:spMk id="7" creationId="{B69E8674-A3E2-25D4-FDC4-3EBD70AB01D9}"/>
          </ac:spMkLst>
        </pc:spChg>
        <pc:graphicFrameChg chg="mod">
          <ac:chgData name="Frode Singstad (NO)" userId="6e7333a6-999f-49b0-9714-e1a4f457baf0" providerId="ADAL" clId="{46661E0C-1B95-40C6-B60E-F35416AC14D5}" dt="2025-10-22T10:59:27.727" v="2099"/>
          <ac:graphicFrameMkLst>
            <pc:docMk/>
            <pc:sldMk cId="1918188371" sldId="2147475662"/>
            <ac:graphicFrameMk id="9" creationId="{45BBE8F8-B8D7-82AF-75F6-9F29EE5A817B}"/>
          </ac:graphicFrameMkLst>
        </pc:graphicFrameChg>
      </pc:sldChg>
      <pc:sldChg chg="del">
        <pc:chgData name="Frode Singstad (NO)" userId="6e7333a6-999f-49b0-9714-e1a4f457baf0" providerId="ADAL" clId="{46661E0C-1B95-40C6-B60E-F35416AC14D5}" dt="2025-10-22T11:00:46.926" v="2104" actId="2696"/>
        <pc:sldMkLst>
          <pc:docMk/>
          <pc:sldMk cId="1429296014" sldId="2147475663"/>
        </pc:sldMkLst>
      </pc:sldChg>
      <pc:sldChg chg="addSp delSp modSp del mod modClrScheme modShow chgLayout">
        <pc:chgData name="Frode Singstad (NO)" userId="6e7333a6-999f-49b0-9714-e1a4f457baf0" providerId="ADAL" clId="{46661E0C-1B95-40C6-B60E-F35416AC14D5}" dt="2025-10-22T06:50:20.960" v="309" actId="2696"/>
        <pc:sldMkLst>
          <pc:docMk/>
          <pc:sldMk cId="2634647708" sldId="2147475668"/>
        </pc:sldMkLst>
      </pc:sldChg>
      <pc:sldChg chg="addSp delSp modSp new mod modClrScheme chgLayout">
        <pc:chgData name="Frode Singstad (NO)" userId="6e7333a6-999f-49b0-9714-e1a4f457baf0" providerId="ADAL" clId="{46661E0C-1B95-40C6-B60E-F35416AC14D5}" dt="2025-10-21T19:23:41.727" v="242"/>
        <pc:sldMkLst>
          <pc:docMk/>
          <pc:sldMk cId="2479142038" sldId="2147475672"/>
        </pc:sldMkLst>
        <pc:spChg chg="mod ord">
          <ac:chgData name="Frode Singstad (NO)" userId="6e7333a6-999f-49b0-9714-e1a4f457baf0" providerId="ADAL" clId="{46661E0C-1B95-40C6-B60E-F35416AC14D5}" dt="2025-10-21T19:22:51.165" v="176" actId="700"/>
          <ac:spMkLst>
            <pc:docMk/>
            <pc:sldMk cId="2479142038" sldId="2147475672"/>
            <ac:spMk id="7" creationId="{375DCE8C-0F79-70C8-2DCB-D76D79FA0EA3}"/>
          </ac:spMkLst>
        </pc:spChg>
        <pc:spChg chg="add mod ord">
          <ac:chgData name="Frode Singstad (NO)" userId="6e7333a6-999f-49b0-9714-e1a4f457baf0" providerId="ADAL" clId="{46661E0C-1B95-40C6-B60E-F35416AC14D5}" dt="2025-10-21T19:23:09.655" v="234" actId="20577"/>
          <ac:spMkLst>
            <pc:docMk/>
            <pc:sldMk cId="2479142038" sldId="2147475672"/>
            <ac:spMk id="9" creationId="{A813BB06-3684-56E2-FD87-ECFC41A88255}"/>
          </ac:spMkLst>
        </pc:spChg>
        <pc:spChg chg="add mod ord">
          <ac:chgData name="Frode Singstad (NO)" userId="6e7333a6-999f-49b0-9714-e1a4f457baf0" providerId="ADAL" clId="{46661E0C-1B95-40C6-B60E-F35416AC14D5}" dt="2025-10-21T19:23:17.266" v="237"/>
          <ac:spMkLst>
            <pc:docMk/>
            <pc:sldMk cId="2479142038" sldId="2147475672"/>
            <ac:spMk id="10" creationId="{BCCF04ED-4212-980A-FC7F-212BA16B26DA}"/>
          </ac:spMkLst>
        </pc:spChg>
        <pc:graphicFrameChg chg="add mod ord modVis">
          <ac:chgData name="Frode Singstad (NO)" userId="6e7333a6-999f-49b0-9714-e1a4f457baf0" providerId="ADAL" clId="{46661E0C-1B95-40C6-B60E-F35416AC14D5}" dt="2025-10-21T19:23:41.727" v="242"/>
          <ac:graphicFrameMkLst>
            <pc:docMk/>
            <pc:sldMk cId="2479142038" sldId="2147475672"/>
            <ac:graphicFrameMk id="12" creationId="{8D4A0341-56E3-92E2-3DF6-BA09F5EEF9BC}"/>
          </ac:graphicFrameMkLst>
        </pc:graphicFrameChg>
        <pc:picChg chg="add mod">
          <ac:chgData name="Frode Singstad (NO)" userId="6e7333a6-999f-49b0-9714-e1a4f457baf0" providerId="ADAL" clId="{46661E0C-1B95-40C6-B60E-F35416AC14D5}" dt="2025-10-21T19:23:06.698" v="231" actId="27614"/>
          <ac:picMkLst>
            <pc:docMk/>
            <pc:sldMk cId="2479142038" sldId="2147475672"/>
            <ac:picMk id="14" creationId="{A83ECE04-BF68-9305-6008-792BBDCD7E44}"/>
          </ac:picMkLst>
        </pc:picChg>
      </pc:sldChg>
      <pc:sldChg chg="addSp delSp modSp add mod">
        <pc:chgData name="Frode Singstad (NO)" userId="6e7333a6-999f-49b0-9714-e1a4f457baf0" providerId="ADAL" clId="{46661E0C-1B95-40C6-B60E-F35416AC14D5}" dt="2025-10-22T11:00:57.619" v="2108" actId="1036"/>
        <pc:sldMkLst>
          <pc:docMk/>
          <pc:sldMk cId="298055320" sldId="2147475673"/>
        </pc:sldMkLst>
        <pc:spChg chg="mod ord">
          <ac:chgData name="Frode Singstad (NO)" userId="6e7333a6-999f-49b0-9714-e1a4f457baf0" providerId="ADAL" clId="{46661E0C-1B95-40C6-B60E-F35416AC14D5}" dt="2025-10-22T08:50:17.387" v="923"/>
          <ac:spMkLst>
            <pc:docMk/>
            <pc:sldMk cId="298055320" sldId="2147475673"/>
            <ac:spMk id="2" creationId="{44568D5B-238F-F926-F39D-5FC218810A77}"/>
          </ac:spMkLst>
        </pc:spChg>
        <pc:spChg chg="add mod ord">
          <ac:chgData name="Frode Singstad (NO)" userId="6e7333a6-999f-49b0-9714-e1a4f457baf0" providerId="ADAL" clId="{46661E0C-1B95-40C6-B60E-F35416AC14D5}" dt="2025-10-22T08:49:55.239" v="915" actId="164"/>
          <ac:spMkLst>
            <pc:docMk/>
            <pc:sldMk cId="298055320" sldId="2147475673"/>
            <ac:spMk id="3" creationId="{A8F0E4DA-9416-6EC5-8C11-E827A7501F26}"/>
          </ac:spMkLst>
        </pc:spChg>
        <pc:spChg chg="add mod ord">
          <ac:chgData name="Frode Singstad (NO)" userId="6e7333a6-999f-49b0-9714-e1a4f457baf0" providerId="ADAL" clId="{46661E0C-1B95-40C6-B60E-F35416AC14D5}" dt="2025-10-22T08:14:17.323" v="626"/>
          <ac:spMkLst>
            <pc:docMk/>
            <pc:sldMk cId="298055320" sldId="2147475673"/>
            <ac:spMk id="4" creationId="{82DF6D10-3E9A-7EFF-E03E-21CAB28BB379}"/>
          </ac:spMkLst>
        </pc:spChg>
        <pc:spChg chg="add mod ord">
          <ac:chgData name="Frode Singstad (NO)" userId="6e7333a6-999f-49b0-9714-e1a4f457baf0" providerId="ADAL" clId="{46661E0C-1B95-40C6-B60E-F35416AC14D5}" dt="2025-10-22T08:14:17.324" v="628"/>
          <ac:spMkLst>
            <pc:docMk/>
            <pc:sldMk cId="298055320" sldId="2147475673"/>
            <ac:spMk id="5" creationId="{615B081D-CA35-3AB6-BF03-F3D59B4F62D8}"/>
          </ac:spMkLst>
        </pc:spChg>
        <pc:spChg chg="add mod ord">
          <ac:chgData name="Frode Singstad (NO)" userId="6e7333a6-999f-49b0-9714-e1a4f457baf0" providerId="ADAL" clId="{46661E0C-1B95-40C6-B60E-F35416AC14D5}" dt="2025-10-22T08:14:17.324" v="630"/>
          <ac:spMkLst>
            <pc:docMk/>
            <pc:sldMk cId="298055320" sldId="2147475673"/>
            <ac:spMk id="6" creationId="{5BED21B4-798A-D47D-28A7-8D9D7CC98C10}"/>
          </ac:spMkLst>
        </pc:spChg>
        <pc:spChg chg="mod ord">
          <ac:chgData name="Frode Singstad (NO)" userId="6e7333a6-999f-49b0-9714-e1a4f457baf0" providerId="ADAL" clId="{46661E0C-1B95-40C6-B60E-F35416AC14D5}" dt="2025-10-22T08:50:17.387" v="925"/>
          <ac:spMkLst>
            <pc:docMk/>
            <pc:sldMk cId="298055320" sldId="2147475673"/>
            <ac:spMk id="7" creationId="{1D15B902-F3FC-7754-E384-20DE2CA770F6}"/>
          </ac:spMkLst>
        </pc:spChg>
        <pc:spChg chg="add mod ord">
          <ac:chgData name="Frode Singstad (NO)" userId="6e7333a6-999f-49b0-9714-e1a4f457baf0" providerId="ADAL" clId="{46661E0C-1B95-40C6-B60E-F35416AC14D5}" dt="2025-10-22T08:45:33.856" v="674" actId="1035"/>
          <ac:spMkLst>
            <pc:docMk/>
            <pc:sldMk cId="298055320" sldId="2147475673"/>
            <ac:spMk id="8" creationId="{F2708E93-773B-6503-9F2B-4D31E0822050}"/>
          </ac:spMkLst>
        </pc:spChg>
        <pc:spChg chg="add mod ord">
          <ac:chgData name="Frode Singstad (NO)" userId="6e7333a6-999f-49b0-9714-e1a4f457baf0" providerId="ADAL" clId="{46661E0C-1B95-40C6-B60E-F35416AC14D5}" dt="2025-10-22T08:49:55.239" v="915" actId="164"/>
          <ac:spMkLst>
            <pc:docMk/>
            <pc:sldMk cId="298055320" sldId="2147475673"/>
            <ac:spMk id="10" creationId="{B62B8CC8-93EE-9BE2-FB91-A891A587FE6C}"/>
          </ac:spMkLst>
        </pc:spChg>
        <pc:spChg chg="add mod ord">
          <ac:chgData name="Frode Singstad (NO)" userId="6e7333a6-999f-49b0-9714-e1a4f457baf0" providerId="ADAL" clId="{46661E0C-1B95-40C6-B60E-F35416AC14D5}" dt="2025-10-22T08:49:55.239" v="915" actId="164"/>
          <ac:spMkLst>
            <pc:docMk/>
            <pc:sldMk cId="298055320" sldId="2147475673"/>
            <ac:spMk id="11" creationId="{B04322A4-2245-16B6-DC33-7DC1FCFF0853}"/>
          </ac:spMkLst>
        </pc:spChg>
        <pc:spChg chg="add del mod">
          <ac:chgData name="Frode Singstad (NO)" userId="6e7333a6-999f-49b0-9714-e1a4f457baf0" providerId="ADAL" clId="{46661E0C-1B95-40C6-B60E-F35416AC14D5}" dt="2025-10-22T08:12:32.287" v="472" actId="478"/>
          <ac:spMkLst>
            <pc:docMk/>
            <pc:sldMk cId="298055320" sldId="2147475673"/>
            <ac:spMk id="12" creationId="{1A10B759-A5FC-AF1E-FA47-81EF6EE6E2DB}"/>
          </ac:spMkLst>
        </pc:spChg>
        <pc:spChg chg="add mod ord">
          <ac:chgData name="Frode Singstad (NO)" userId="6e7333a6-999f-49b0-9714-e1a4f457baf0" providerId="ADAL" clId="{46661E0C-1B95-40C6-B60E-F35416AC14D5}" dt="2025-10-22T08:14:17.326" v="638"/>
          <ac:spMkLst>
            <pc:docMk/>
            <pc:sldMk cId="298055320" sldId="2147475673"/>
            <ac:spMk id="13" creationId="{14F81782-E5E8-3521-3BBE-21D4BAD13448}"/>
          </ac:spMkLst>
        </pc:spChg>
        <pc:spChg chg="add mod ord">
          <ac:chgData name="Frode Singstad (NO)" userId="6e7333a6-999f-49b0-9714-e1a4f457baf0" providerId="ADAL" clId="{46661E0C-1B95-40C6-B60E-F35416AC14D5}" dt="2025-10-22T08:14:17.326" v="640"/>
          <ac:spMkLst>
            <pc:docMk/>
            <pc:sldMk cId="298055320" sldId="2147475673"/>
            <ac:spMk id="15" creationId="{2ABF7B8A-D076-4790-D686-499A145C540C}"/>
          </ac:spMkLst>
        </pc:spChg>
        <pc:spChg chg="add del mod modVis">
          <ac:chgData name="Frode Singstad (NO)" userId="6e7333a6-999f-49b0-9714-e1a4f457baf0" providerId="ADAL" clId="{46661E0C-1B95-40C6-B60E-F35416AC14D5}" dt="2025-10-22T08:13:55.488" v="546"/>
          <ac:spMkLst>
            <pc:docMk/>
            <pc:sldMk cId="298055320" sldId="2147475673"/>
            <ac:spMk id="20" creationId="{AE613B63-A2C1-13B8-8B3C-4FB0EB04CF93}"/>
          </ac:spMkLst>
        </pc:spChg>
        <pc:spChg chg="add mod">
          <ac:chgData name="Frode Singstad (NO)" userId="6e7333a6-999f-49b0-9714-e1a4f457baf0" providerId="ADAL" clId="{46661E0C-1B95-40C6-B60E-F35416AC14D5}" dt="2025-10-22T08:51:07.860" v="945" actId="1036"/>
          <ac:spMkLst>
            <pc:docMk/>
            <pc:sldMk cId="298055320" sldId="2147475673"/>
            <ac:spMk id="21" creationId="{02A8340C-4923-64E1-AAE0-FC16D5E12FA8}"/>
          </ac:spMkLst>
        </pc:spChg>
        <pc:spChg chg="add mod">
          <ac:chgData name="Frode Singstad (NO)" userId="6e7333a6-999f-49b0-9714-e1a4f457baf0" providerId="ADAL" clId="{46661E0C-1B95-40C6-B60E-F35416AC14D5}" dt="2025-10-22T08:51:07.860" v="945" actId="1036"/>
          <ac:spMkLst>
            <pc:docMk/>
            <pc:sldMk cId="298055320" sldId="2147475673"/>
            <ac:spMk id="22" creationId="{01BCBBA6-7604-F6BB-158E-3FEC54DB0A32}"/>
          </ac:spMkLst>
        </pc:spChg>
        <pc:spChg chg="add mod">
          <ac:chgData name="Frode Singstad (NO)" userId="6e7333a6-999f-49b0-9714-e1a4f457baf0" providerId="ADAL" clId="{46661E0C-1B95-40C6-B60E-F35416AC14D5}" dt="2025-10-22T08:51:07.860" v="945" actId="1036"/>
          <ac:spMkLst>
            <pc:docMk/>
            <pc:sldMk cId="298055320" sldId="2147475673"/>
            <ac:spMk id="23" creationId="{3D5F2697-1148-9178-2DE9-CB9420EA1C0C}"/>
          </ac:spMkLst>
        </pc:spChg>
        <pc:spChg chg="add mod">
          <ac:chgData name="Frode Singstad (NO)" userId="6e7333a6-999f-49b0-9714-e1a4f457baf0" providerId="ADAL" clId="{46661E0C-1B95-40C6-B60E-F35416AC14D5}" dt="2025-10-22T08:51:11.563" v="947" actId="1036"/>
          <ac:spMkLst>
            <pc:docMk/>
            <pc:sldMk cId="298055320" sldId="2147475673"/>
            <ac:spMk id="24" creationId="{1207B6A4-A28E-9C79-4E6B-38AA967981FA}"/>
          </ac:spMkLst>
        </pc:spChg>
        <pc:spChg chg="add mod">
          <ac:chgData name="Frode Singstad (NO)" userId="6e7333a6-999f-49b0-9714-e1a4f457baf0" providerId="ADAL" clId="{46661E0C-1B95-40C6-B60E-F35416AC14D5}" dt="2025-10-22T08:51:14.870" v="948" actId="1036"/>
          <ac:spMkLst>
            <pc:docMk/>
            <pc:sldMk cId="298055320" sldId="2147475673"/>
            <ac:spMk id="25" creationId="{AF00E63A-ACCF-B0CE-A38A-15F4D99F6607}"/>
          </ac:spMkLst>
        </pc:spChg>
        <pc:spChg chg="add mod">
          <ac:chgData name="Frode Singstad (NO)" userId="6e7333a6-999f-49b0-9714-e1a4f457baf0" providerId="ADAL" clId="{46661E0C-1B95-40C6-B60E-F35416AC14D5}" dt="2025-10-22T08:50:28.814" v="931" actId="207"/>
          <ac:spMkLst>
            <pc:docMk/>
            <pc:sldMk cId="298055320" sldId="2147475673"/>
            <ac:spMk id="26" creationId="{6D5C9014-CE16-F2DA-B373-984B43DC6B16}"/>
          </ac:spMkLst>
        </pc:spChg>
        <pc:spChg chg="add mod">
          <ac:chgData name="Frode Singstad (NO)" userId="6e7333a6-999f-49b0-9714-e1a4f457baf0" providerId="ADAL" clId="{46661E0C-1B95-40C6-B60E-F35416AC14D5}" dt="2025-10-22T08:50:28.814" v="931" actId="207"/>
          <ac:spMkLst>
            <pc:docMk/>
            <pc:sldMk cId="298055320" sldId="2147475673"/>
            <ac:spMk id="27" creationId="{4DF68178-A592-9A4D-FBD2-6E3CADD15946}"/>
          </ac:spMkLst>
        </pc:spChg>
        <pc:spChg chg="add mod">
          <ac:chgData name="Frode Singstad (NO)" userId="6e7333a6-999f-49b0-9714-e1a4f457baf0" providerId="ADAL" clId="{46661E0C-1B95-40C6-B60E-F35416AC14D5}" dt="2025-10-22T08:47:43.781" v="850"/>
          <ac:spMkLst>
            <pc:docMk/>
            <pc:sldMk cId="298055320" sldId="2147475673"/>
            <ac:spMk id="28" creationId="{EBD7E43E-DCD8-8725-A6AF-E78B2CC874A4}"/>
          </ac:spMkLst>
        </pc:spChg>
        <pc:spChg chg="add mod">
          <ac:chgData name="Frode Singstad (NO)" userId="6e7333a6-999f-49b0-9714-e1a4f457baf0" providerId="ADAL" clId="{46661E0C-1B95-40C6-B60E-F35416AC14D5}" dt="2025-10-22T08:50:28.814" v="931" actId="207"/>
          <ac:spMkLst>
            <pc:docMk/>
            <pc:sldMk cId="298055320" sldId="2147475673"/>
            <ac:spMk id="29" creationId="{E1D58AF8-8429-0843-2C4D-2B789D6F5F34}"/>
          </ac:spMkLst>
        </pc:spChg>
        <pc:spChg chg="add mod">
          <ac:chgData name="Frode Singstad (NO)" userId="6e7333a6-999f-49b0-9714-e1a4f457baf0" providerId="ADAL" clId="{46661E0C-1B95-40C6-B60E-F35416AC14D5}" dt="2025-10-22T08:50:28.814" v="931" actId="207"/>
          <ac:spMkLst>
            <pc:docMk/>
            <pc:sldMk cId="298055320" sldId="2147475673"/>
            <ac:spMk id="30" creationId="{1A375641-5AE6-BDFB-020D-CC6342108E31}"/>
          </ac:spMkLst>
        </pc:spChg>
        <pc:spChg chg="add mod">
          <ac:chgData name="Frode Singstad (NO)" userId="6e7333a6-999f-49b0-9714-e1a4f457baf0" providerId="ADAL" clId="{46661E0C-1B95-40C6-B60E-F35416AC14D5}" dt="2025-10-22T08:49:13.407" v="898" actId="20577"/>
          <ac:spMkLst>
            <pc:docMk/>
            <pc:sldMk cId="298055320" sldId="2147475673"/>
            <ac:spMk id="31" creationId="{F7F8EA4B-2E7C-8DE5-3E15-F2129FE22806}"/>
          </ac:spMkLst>
        </pc:spChg>
        <pc:spChg chg="add mod">
          <ac:chgData name="Frode Singstad (NO)" userId="6e7333a6-999f-49b0-9714-e1a4f457baf0" providerId="ADAL" clId="{46661E0C-1B95-40C6-B60E-F35416AC14D5}" dt="2025-10-22T08:49:55.239" v="915" actId="164"/>
          <ac:spMkLst>
            <pc:docMk/>
            <pc:sldMk cId="298055320" sldId="2147475673"/>
            <ac:spMk id="32" creationId="{556EF8F6-672E-0C65-49CB-C65439BD0052}"/>
          </ac:spMkLst>
        </pc:spChg>
        <pc:spChg chg="add mod">
          <ac:chgData name="Frode Singstad (NO)" userId="6e7333a6-999f-49b0-9714-e1a4f457baf0" providerId="ADAL" clId="{46661E0C-1B95-40C6-B60E-F35416AC14D5}" dt="2025-10-22T08:50:36.612" v="934" actId="1037"/>
          <ac:spMkLst>
            <pc:docMk/>
            <pc:sldMk cId="298055320" sldId="2147475673"/>
            <ac:spMk id="33" creationId="{18EFE5DF-FFFE-DB53-12C0-B72CBAC7BBEA}"/>
          </ac:spMkLst>
        </pc:spChg>
        <pc:spChg chg="add mod">
          <ac:chgData name="Frode Singstad (NO)" userId="6e7333a6-999f-49b0-9714-e1a4f457baf0" providerId="ADAL" clId="{46661E0C-1B95-40C6-B60E-F35416AC14D5}" dt="2025-10-22T08:49:55.239" v="915" actId="164"/>
          <ac:spMkLst>
            <pc:docMk/>
            <pc:sldMk cId="298055320" sldId="2147475673"/>
            <ac:spMk id="34" creationId="{5D86F11E-3A1C-09A1-868B-58B6CECBF3A9}"/>
          </ac:spMkLst>
        </pc:spChg>
        <pc:spChg chg="add mod">
          <ac:chgData name="Frode Singstad (NO)" userId="6e7333a6-999f-49b0-9714-e1a4f457baf0" providerId="ADAL" clId="{46661E0C-1B95-40C6-B60E-F35416AC14D5}" dt="2025-10-22T08:49:16.284" v="899" actId="1076"/>
          <ac:spMkLst>
            <pc:docMk/>
            <pc:sldMk cId="298055320" sldId="2147475673"/>
            <ac:spMk id="35" creationId="{5E7EF50A-66F6-3169-8176-B9AD2F93FB0F}"/>
          </ac:spMkLst>
        </pc:spChg>
        <pc:spChg chg="add mod">
          <ac:chgData name="Frode Singstad (NO)" userId="6e7333a6-999f-49b0-9714-e1a4f457baf0" providerId="ADAL" clId="{46661E0C-1B95-40C6-B60E-F35416AC14D5}" dt="2025-10-22T08:50:40.477" v="942" actId="1036"/>
          <ac:spMkLst>
            <pc:docMk/>
            <pc:sldMk cId="298055320" sldId="2147475673"/>
            <ac:spMk id="36" creationId="{3C125D59-D288-4254-592F-36EE2A299BA9}"/>
          </ac:spMkLst>
        </pc:spChg>
        <pc:spChg chg="add mod">
          <ac:chgData name="Frode Singstad (NO)" userId="6e7333a6-999f-49b0-9714-e1a4f457baf0" providerId="ADAL" clId="{46661E0C-1B95-40C6-B60E-F35416AC14D5}" dt="2025-10-22T08:49:55.239" v="915" actId="164"/>
          <ac:spMkLst>
            <pc:docMk/>
            <pc:sldMk cId="298055320" sldId="2147475673"/>
            <ac:spMk id="37" creationId="{99D0B8EC-569A-2FB3-DB43-E50ECD14E85C}"/>
          </ac:spMkLst>
        </pc:spChg>
        <pc:spChg chg="add mod">
          <ac:chgData name="Frode Singstad (NO)" userId="6e7333a6-999f-49b0-9714-e1a4f457baf0" providerId="ADAL" clId="{46661E0C-1B95-40C6-B60E-F35416AC14D5}" dt="2025-10-22T08:49:48.873" v="914" actId="552"/>
          <ac:spMkLst>
            <pc:docMk/>
            <pc:sldMk cId="298055320" sldId="2147475673"/>
            <ac:spMk id="38" creationId="{EE6330DE-45B1-AF41-8524-DE8079E4B7AC}"/>
          </ac:spMkLst>
        </pc:spChg>
        <pc:spChg chg="add mod">
          <ac:chgData name="Frode Singstad (NO)" userId="6e7333a6-999f-49b0-9714-e1a4f457baf0" providerId="ADAL" clId="{46661E0C-1B95-40C6-B60E-F35416AC14D5}" dt="2025-10-22T08:49:48.873" v="914" actId="552"/>
          <ac:spMkLst>
            <pc:docMk/>
            <pc:sldMk cId="298055320" sldId="2147475673"/>
            <ac:spMk id="39" creationId="{229D80EB-7AE8-E0DF-CCF7-644777CEA62E}"/>
          </ac:spMkLst>
        </pc:spChg>
        <pc:spChg chg="add mod ord">
          <ac:chgData name="Frode Singstad (NO)" userId="6e7333a6-999f-49b0-9714-e1a4f457baf0" providerId="ADAL" clId="{46661E0C-1B95-40C6-B60E-F35416AC14D5}" dt="2025-10-22T08:50:19.608" v="930" actId="14100"/>
          <ac:spMkLst>
            <pc:docMk/>
            <pc:sldMk cId="298055320" sldId="2147475673"/>
            <ac:spMk id="41" creationId="{A5810A9C-4524-02D8-1B0F-BE514A6DE973}"/>
          </ac:spMkLst>
        </pc:spChg>
        <pc:grpChg chg="mod ord">
          <ac:chgData name="Frode Singstad (NO)" userId="6e7333a6-999f-49b0-9714-e1a4f457baf0" providerId="ADAL" clId="{46661E0C-1B95-40C6-B60E-F35416AC14D5}" dt="2025-10-22T11:00:57.619" v="2108" actId="1036"/>
          <ac:grpSpMkLst>
            <pc:docMk/>
            <pc:sldMk cId="298055320" sldId="2147475673"/>
            <ac:grpSpMk id="40" creationId="{B293CC75-1C72-9825-7959-FF41838DD2EE}"/>
          </ac:grpSpMkLst>
        </pc:grpChg>
        <pc:graphicFrameChg chg="mod">
          <ac:chgData name="Frode Singstad (NO)" userId="6e7333a6-999f-49b0-9714-e1a4f457baf0" providerId="ADAL" clId="{46661E0C-1B95-40C6-B60E-F35416AC14D5}" dt="2025-10-22T08:50:17.402" v="929"/>
          <ac:graphicFrameMkLst>
            <pc:docMk/>
            <pc:sldMk cId="298055320" sldId="2147475673"/>
            <ac:graphicFrameMk id="9" creationId="{0FE2E8CF-BA94-AA29-B193-6523BDCAC569}"/>
          </ac:graphicFrameMkLst>
        </pc:graphicFrameChg>
        <pc:picChg chg="del mod ord">
          <ac:chgData name="Frode Singstad (NO)" userId="6e7333a6-999f-49b0-9714-e1a4f457baf0" providerId="ADAL" clId="{46661E0C-1B95-40C6-B60E-F35416AC14D5}" dt="2025-10-22T08:49:41.848" v="913" actId="478"/>
          <ac:picMkLst>
            <pc:docMk/>
            <pc:sldMk cId="298055320" sldId="2147475673"/>
            <ac:picMk id="14" creationId="{DB797EA3-05C9-B336-F3DC-0EB0038D809A}"/>
          </ac:picMkLst>
        </pc:picChg>
        <pc:cxnChg chg="add mod ord">
          <ac:chgData name="Frode Singstad (NO)" userId="6e7333a6-999f-49b0-9714-e1a4f457baf0" providerId="ADAL" clId="{46661E0C-1B95-40C6-B60E-F35416AC14D5}" dt="2025-10-22T08:14:17.326" v="642"/>
          <ac:cxnSpMkLst>
            <pc:docMk/>
            <pc:sldMk cId="298055320" sldId="2147475673"/>
            <ac:cxnSpMk id="17" creationId="{E3883CD4-8F04-EE75-D16B-E0485989FFF9}"/>
          </ac:cxnSpMkLst>
        </pc:cxnChg>
        <pc:cxnChg chg="add del mod ord">
          <ac:chgData name="Frode Singstad (NO)" userId="6e7333a6-999f-49b0-9714-e1a4f457baf0" providerId="ADAL" clId="{46661E0C-1B95-40C6-B60E-F35416AC14D5}" dt="2025-10-22T08:45:51.811" v="686" actId="478"/>
          <ac:cxnSpMkLst>
            <pc:docMk/>
            <pc:sldMk cId="298055320" sldId="2147475673"/>
            <ac:cxnSpMk id="18" creationId="{DDBB4261-1F65-3C5D-128E-349F21BA9CEA}"/>
          </ac:cxnSpMkLst>
        </pc:cxnChg>
        <pc:cxnChg chg="add del mod ord">
          <ac:chgData name="Frode Singstad (NO)" userId="6e7333a6-999f-49b0-9714-e1a4f457baf0" providerId="ADAL" clId="{46661E0C-1B95-40C6-B60E-F35416AC14D5}" dt="2025-10-22T08:45:48.976" v="685" actId="478"/>
          <ac:cxnSpMkLst>
            <pc:docMk/>
            <pc:sldMk cId="298055320" sldId="2147475673"/>
            <ac:cxnSpMk id="19" creationId="{335B7ECC-8A83-2DB1-8066-3DD0E66164C2}"/>
          </ac:cxnSpMkLst>
        </pc:cxnChg>
      </pc:sldChg>
      <pc:sldChg chg="addSp delSp modSp del mod modClrScheme chgLayout">
        <pc:chgData name="Frode Singstad (NO)" userId="6e7333a6-999f-49b0-9714-e1a4f457baf0" providerId="ADAL" clId="{46661E0C-1B95-40C6-B60E-F35416AC14D5}" dt="2025-10-23T07:50:26.128" v="3239" actId="2696"/>
        <pc:sldMkLst>
          <pc:docMk/>
          <pc:sldMk cId="4251043871" sldId="2147475674"/>
        </pc:sldMkLst>
        <pc:spChg chg="del mod ord">
          <ac:chgData name="Frode Singstad (NO)" userId="6e7333a6-999f-49b0-9714-e1a4f457baf0" providerId="ADAL" clId="{46661E0C-1B95-40C6-B60E-F35416AC14D5}" dt="2025-10-22T17:44:50.631" v="2190" actId="700"/>
          <ac:spMkLst>
            <pc:docMk/>
            <pc:sldMk cId="4251043871" sldId="2147475674"/>
            <ac:spMk id="2" creationId="{9B5C2BE7-E4FD-D6F8-34E5-73FF16DD4F78}"/>
          </ac:spMkLst>
        </pc:spChg>
        <pc:spChg chg="mod ord">
          <ac:chgData name="Frode Singstad (NO)" userId="6e7333a6-999f-49b0-9714-e1a4f457baf0" providerId="ADAL" clId="{46661E0C-1B95-40C6-B60E-F35416AC14D5}" dt="2025-10-22T17:52:55.909" v="2354" actId="20577"/>
          <ac:spMkLst>
            <pc:docMk/>
            <pc:sldMk cId="4251043871" sldId="2147475674"/>
            <ac:spMk id="3" creationId="{DD92A368-DC73-4ADC-B338-0CDEDEBA1545}"/>
          </ac:spMkLst>
        </pc:spChg>
        <pc:spChg chg="del">
          <ac:chgData name="Frode Singstad (NO)" userId="6e7333a6-999f-49b0-9714-e1a4f457baf0" providerId="ADAL" clId="{46661E0C-1B95-40C6-B60E-F35416AC14D5}" dt="2025-10-22T17:44:50.631" v="2190" actId="700"/>
          <ac:spMkLst>
            <pc:docMk/>
            <pc:sldMk cId="4251043871" sldId="2147475674"/>
            <ac:spMk id="4" creationId="{4C1B27F8-423E-88F3-3B64-8BD4C647C6F0}"/>
          </ac:spMkLst>
        </pc:spChg>
        <pc:spChg chg="del mod ord">
          <ac:chgData name="Frode Singstad (NO)" userId="6e7333a6-999f-49b0-9714-e1a4f457baf0" providerId="ADAL" clId="{46661E0C-1B95-40C6-B60E-F35416AC14D5}" dt="2025-10-22T17:44:50.631" v="2190" actId="700"/>
          <ac:spMkLst>
            <pc:docMk/>
            <pc:sldMk cId="4251043871" sldId="2147475674"/>
            <ac:spMk id="5" creationId="{27592AD9-C947-91E1-0504-76198080F493}"/>
          </ac:spMkLst>
        </pc:spChg>
        <pc:spChg chg="del">
          <ac:chgData name="Frode Singstad (NO)" userId="6e7333a6-999f-49b0-9714-e1a4f457baf0" providerId="ADAL" clId="{46661E0C-1B95-40C6-B60E-F35416AC14D5}" dt="2025-10-22T17:44:19.697" v="2189" actId="478"/>
          <ac:spMkLst>
            <pc:docMk/>
            <pc:sldMk cId="4251043871" sldId="2147475674"/>
            <ac:spMk id="6" creationId="{6ADA625D-1868-6D3B-083A-04C65014789B}"/>
          </ac:spMkLst>
        </pc:spChg>
        <pc:spChg chg="mod ord">
          <ac:chgData name="Frode Singstad (NO)" userId="6e7333a6-999f-49b0-9714-e1a4f457baf0" providerId="ADAL" clId="{46661E0C-1B95-40C6-B60E-F35416AC14D5}" dt="2025-10-22T17:51:08.113" v="2345" actId="700"/>
          <ac:spMkLst>
            <pc:docMk/>
            <pc:sldMk cId="4251043871" sldId="2147475674"/>
            <ac:spMk id="7" creationId="{DEC03264-A6C1-B2C1-E584-1350CF44A6FA}"/>
          </ac:spMkLst>
        </pc:spChg>
        <pc:spChg chg="add del mod ord">
          <ac:chgData name="Frode Singstad (NO)" userId="6e7333a6-999f-49b0-9714-e1a4f457baf0" providerId="ADAL" clId="{46661E0C-1B95-40C6-B60E-F35416AC14D5}" dt="2025-10-22T17:50:09.661" v="2328" actId="700"/>
          <ac:spMkLst>
            <pc:docMk/>
            <pc:sldMk cId="4251043871" sldId="2147475674"/>
            <ac:spMk id="8" creationId="{4C8B8337-81AC-5FEB-69BA-DC0614EC3D70}"/>
          </ac:spMkLst>
        </pc:spChg>
        <pc:spChg chg="add del mod ord">
          <ac:chgData name="Frode Singstad (NO)" userId="6e7333a6-999f-49b0-9714-e1a4f457baf0" providerId="ADAL" clId="{46661E0C-1B95-40C6-B60E-F35416AC14D5}" dt="2025-10-22T17:44:53.884" v="2205" actId="478"/>
          <ac:spMkLst>
            <pc:docMk/>
            <pc:sldMk cId="4251043871" sldId="2147475674"/>
            <ac:spMk id="9" creationId="{183A3E52-906C-CC3A-42B6-C98AFA4494C6}"/>
          </ac:spMkLst>
        </pc:spChg>
        <pc:spChg chg="add del mod ord">
          <ac:chgData name="Frode Singstad (NO)" userId="6e7333a6-999f-49b0-9714-e1a4f457baf0" providerId="ADAL" clId="{46661E0C-1B95-40C6-B60E-F35416AC14D5}" dt="2025-10-22T17:51:08.113" v="2345" actId="700"/>
          <ac:spMkLst>
            <pc:docMk/>
            <pc:sldMk cId="4251043871" sldId="2147475674"/>
            <ac:spMk id="12" creationId="{6970D12A-48D5-10D2-8D68-34F0B2F15D80}"/>
          </ac:spMkLst>
        </pc:spChg>
        <pc:spChg chg="add del mod ord">
          <ac:chgData name="Frode Singstad (NO)" userId="6e7333a6-999f-49b0-9714-e1a4f457baf0" providerId="ADAL" clId="{46661E0C-1B95-40C6-B60E-F35416AC14D5}" dt="2025-10-22T17:51:08.113" v="2345" actId="700"/>
          <ac:spMkLst>
            <pc:docMk/>
            <pc:sldMk cId="4251043871" sldId="2147475674"/>
            <ac:spMk id="13" creationId="{5910C22C-D9F3-8D8E-322F-2E5E1A0B7915}"/>
          </ac:spMkLst>
        </pc:spChg>
        <pc:spChg chg="add del mod ord">
          <ac:chgData name="Frode Singstad (NO)" userId="6e7333a6-999f-49b0-9714-e1a4f457baf0" providerId="ADAL" clId="{46661E0C-1B95-40C6-B60E-F35416AC14D5}" dt="2025-10-22T17:51:08.113" v="2345" actId="700"/>
          <ac:spMkLst>
            <pc:docMk/>
            <pc:sldMk cId="4251043871" sldId="2147475674"/>
            <ac:spMk id="14" creationId="{87A56296-7163-22DD-FAC1-CA985E0DCD97}"/>
          </ac:spMkLst>
        </pc:spChg>
        <pc:spChg chg="add del mod ord">
          <ac:chgData name="Frode Singstad (NO)" userId="6e7333a6-999f-49b0-9714-e1a4f457baf0" providerId="ADAL" clId="{46661E0C-1B95-40C6-B60E-F35416AC14D5}" dt="2025-10-22T17:51:08.113" v="2345" actId="700"/>
          <ac:spMkLst>
            <pc:docMk/>
            <pc:sldMk cId="4251043871" sldId="2147475674"/>
            <ac:spMk id="15" creationId="{DB3EC054-D98B-14F5-733E-4629E333D281}"/>
          </ac:spMkLst>
        </pc:spChg>
        <pc:spChg chg="add mod ord">
          <ac:chgData name="Frode Singstad (NO)" userId="6e7333a6-999f-49b0-9714-e1a4f457baf0" providerId="ADAL" clId="{46661E0C-1B95-40C6-B60E-F35416AC14D5}" dt="2025-10-22T17:51:08.113" v="2345" actId="700"/>
          <ac:spMkLst>
            <pc:docMk/>
            <pc:sldMk cId="4251043871" sldId="2147475674"/>
            <ac:spMk id="18" creationId="{9F050378-BFDB-12E6-3527-AE473C5927C1}"/>
          </ac:spMkLst>
        </pc:spChg>
        <pc:spChg chg="add del mod ord">
          <ac:chgData name="Frode Singstad (NO)" userId="6e7333a6-999f-49b0-9714-e1a4f457baf0" providerId="ADAL" clId="{46661E0C-1B95-40C6-B60E-F35416AC14D5}" dt="2025-10-22T17:51:13.366" v="2348" actId="478"/>
          <ac:spMkLst>
            <pc:docMk/>
            <pc:sldMk cId="4251043871" sldId="2147475674"/>
            <ac:spMk id="19" creationId="{A9CE0BAD-E363-1DDF-0075-79CF1A802DD8}"/>
          </ac:spMkLst>
        </pc:spChg>
        <pc:spChg chg="add del mod ord">
          <ac:chgData name="Frode Singstad (NO)" userId="6e7333a6-999f-49b0-9714-e1a4f457baf0" providerId="ADAL" clId="{46661E0C-1B95-40C6-B60E-F35416AC14D5}" dt="2025-10-22T17:53:21.559" v="2355"/>
          <ac:spMkLst>
            <pc:docMk/>
            <pc:sldMk cId="4251043871" sldId="2147475674"/>
            <ac:spMk id="20" creationId="{3E588B5B-D00F-EA03-474E-6C16A723A8EA}"/>
          </ac:spMkLst>
        </pc:spChg>
        <pc:spChg chg="add del mod">
          <ac:chgData name="Frode Singstad (NO)" userId="6e7333a6-999f-49b0-9714-e1a4f457baf0" providerId="ADAL" clId="{46661E0C-1B95-40C6-B60E-F35416AC14D5}" dt="2025-10-22T17:53:45.958" v="2358"/>
          <ac:spMkLst>
            <pc:docMk/>
            <pc:sldMk cId="4251043871" sldId="2147475674"/>
            <ac:spMk id="24" creationId="{EF64309C-A303-880D-787B-032AD80BF400}"/>
          </ac:spMkLst>
        </pc:spChg>
        <pc:spChg chg="add del mod">
          <ac:chgData name="Frode Singstad (NO)" userId="6e7333a6-999f-49b0-9714-e1a4f457baf0" providerId="ADAL" clId="{46661E0C-1B95-40C6-B60E-F35416AC14D5}" dt="2025-10-22T17:54:59.392" v="2365" actId="931"/>
          <ac:spMkLst>
            <pc:docMk/>
            <pc:sldMk cId="4251043871" sldId="2147475674"/>
            <ac:spMk id="30" creationId="{033975F3-9764-39DF-8E80-8EA07E65612E}"/>
          </ac:spMkLst>
        </pc:spChg>
        <pc:spChg chg="add del mod">
          <ac:chgData name="Frode Singstad (NO)" userId="6e7333a6-999f-49b0-9714-e1a4f457baf0" providerId="ADAL" clId="{46661E0C-1B95-40C6-B60E-F35416AC14D5}" dt="2025-10-22T17:56:21.576" v="2369" actId="931"/>
          <ac:spMkLst>
            <pc:docMk/>
            <pc:sldMk cId="4251043871" sldId="2147475674"/>
            <ac:spMk id="34" creationId="{62881EE2-D82F-583C-79FC-D99D00C90F0D}"/>
          </ac:spMkLst>
        </pc:spChg>
        <pc:graphicFrameChg chg="add mod ord modVis">
          <ac:chgData name="Frode Singstad (NO)" userId="6e7333a6-999f-49b0-9714-e1a4f457baf0" providerId="ADAL" clId="{46661E0C-1B95-40C6-B60E-F35416AC14D5}" dt="2025-10-22T17:51:08.443" v="2347"/>
          <ac:graphicFrameMkLst>
            <pc:docMk/>
            <pc:sldMk cId="4251043871" sldId="2147475674"/>
            <ac:graphicFrameMk id="10" creationId="{467FF418-34F8-53D5-327F-0AD67F5FF1B6}"/>
          </ac:graphicFrameMkLst>
        </pc:graphicFrameChg>
        <pc:picChg chg="add mod">
          <ac:chgData name="Frode Singstad (NO)" userId="6e7333a6-999f-49b0-9714-e1a4f457baf0" providerId="ADAL" clId="{46661E0C-1B95-40C6-B60E-F35416AC14D5}" dt="2025-10-22T17:50:12.262" v="2331" actId="1076"/>
          <ac:picMkLst>
            <pc:docMk/>
            <pc:sldMk cId="4251043871" sldId="2147475674"/>
            <ac:picMk id="11" creationId="{7BCD340E-5812-9199-1B90-79CC71603BDF}"/>
          </ac:picMkLst>
        </pc:picChg>
        <pc:picChg chg="add mod modCrop">
          <ac:chgData name="Frode Singstad (NO)" userId="6e7333a6-999f-49b0-9714-e1a4f457baf0" providerId="ADAL" clId="{46661E0C-1B95-40C6-B60E-F35416AC14D5}" dt="2025-10-22T17:50:56.901" v="2344"/>
          <ac:picMkLst>
            <pc:docMk/>
            <pc:sldMk cId="4251043871" sldId="2147475674"/>
            <ac:picMk id="17" creationId="{4FB2D0A2-FE6B-FAB6-1A69-8B45E152DB59}"/>
          </ac:picMkLst>
        </pc:picChg>
        <pc:picChg chg="add del mod">
          <ac:chgData name="Frode Singstad (NO)" userId="6e7333a6-999f-49b0-9714-e1a4f457baf0" providerId="ADAL" clId="{46661E0C-1B95-40C6-B60E-F35416AC14D5}" dt="2025-10-22T17:53:42.722" v="2357" actId="478"/>
          <ac:picMkLst>
            <pc:docMk/>
            <pc:sldMk cId="4251043871" sldId="2147475674"/>
            <ac:picMk id="22" creationId="{3448A5A8-0FA8-B52B-4FBD-B3F2D6EDF04F}"/>
          </ac:picMkLst>
        </pc:picChg>
        <pc:picChg chg="add del mod">
          <ac:chgData name="Frode Singstad (NO)" userId="6e7333a6-999f-49b0-9714-e1a4f457baf0" providerId="ADAL" clId="{46661E0C-1B95-40C6-B60E-F35416AC14D5}" dt="2025-10-22T17:54:51.100" v="2361" actId="478"/>
          <ac:picMkLst>
            <pc:docMk/>
            <pc:sldMk cId="4251043871" sldId="2147475674"/>
            <ac:picMk id="26" creationId="{E2320C86-8ACC-9AD9-B1D2-FA4BB7A19118}"/>
          </ac:picMkLst>
        </pc:picChg>
        <pc:picChg chg="add del mod">
          <ac:chgData name="Frode Singstad (NO)" userId="6e7333a6-999f-49b0-9714-e1a4f457baf0" providerId="ADAL" clId="{46661E0C-1B95-40C6-B60E-F35416AC14D5}" dt="2025-10-22T17:55:01.107" v="2366" actId="478"/>
          <ac:picMkLst>
            <pc:docMk/>
            <pc:sldMk cId="4251043871" sldId="2147475674"/>
            <ac:picMk id="28" creationId="{7DA82EA6-1911-6FBF-ED09-9C65ABD301FA}"/>
          </ac:picMkLst>
        </pc:picChg>
        <pc:picChg chg="add del mod">
          <ac:chgData name="Frode Singstad (NO)" userId="6e7333a6-999f-49b0-9714-e1a4f457baf0" providerId="ADAL" clId="{46661E0C-1B95-40C6-B60E-F35416AC14D5}" dt="2025-10-22T17:56:18.757" v="2368" actId="478"/>
          <ac:picMkLst>
            <pc:docMk/>
            <pc:sldMk cId="4251043871" sldId="2147475674"/>
            <ac:picMk id="32" creationId="{DF4AE231-9547-3476-E76C-132B45AD4347}"/>
          </ac:picMkLst>
        </pc:picChg>
        <pc:picChg chg="add mod">
          <ac:chgData name="Frode Singstad (NO)" userId="6e7333a6-999f-49b0-9714-e1a4f457baf0" providerId="ADAL" clId="{46661E0C-1B95-40C6-B60E-F35416AC14D5}" dt="2025-10-22T17:56:28.074" v="2370" actId="27614"/>
          <ac:picMkLst>
            <pc:docMk/>
            <pc:sldMk cId="4251043871" sldId="2147475674"/>
            <ac:picMk id="36" creationId="{16464C6C-F623-D056-6DAF-3535954EEE81}"/>
          </ac:picMkLst>
        </pc:picChg>
      </pc:sldChg>
      <pc:sldChg chg="modSp mod">
        <pc:chgData name="Frode Singstad (NO)" userId="6e7333a6-999f-49b0-9714-e1a4f457baf0" providerId="ADAL" clId="{46661E0C-1B95-40C6-B60E-F35416AC14D5}" dt="2025-10-23T07:49:56.535" v="3238" actId="732"/>
        <pc:sldMkLst>
          <pc:docMk/>
          <pc:sldMk cId="1694232763" sldId="2147475675"/>
        </pc:sldMkLst>
        <pc:picChg chg="mod modCrop">
          <ac:chgData name="Frode Singstad (NO)" userId="6e7333a6-999f-49b0-9714-e1a4f457baf0" providerId="ADAL" clId="{46661E0C-1B95-40C6-B60E-F35416AC14D5}" dt="2025-10-23T07:49:56.535" v="3238" actId="732"/>
          <ac:picMkLst>
            <pc:docMk/>
            <pc:sldMk cId="1694232763" sldId="2147475675"/>
            <ac:picMk id="18" creationId="{02B314A8-85BD-EEF1-1192-FA512BD37AEF}"/>
          </ac:picMkLst>
        </pc:picChg>
      </pc:sldChg>
    </pc:docChg>
  </pc:docChgLst>
  <pc:docChgLst>
    <pc:chgData name="Frode Singstad (NO)" userId="S::frode.singstad@pwc.com::6e7333a6-999f-49b0-9714-e1a4f457baf0" providerId="AD" clId="Web-{08C43568-C099-1272-2A68-9BB1BB55422B}"/>
    <pc:docChg chg="addSld modSld">
      <pc:chgData name="Frode Singstad (NO)" userId="S::frode.singstad@pwc.com::6e7333a6-999f-49b0-9714-e1a4f457baf0" providerId="AD" clId="Web-{08C43568-C099-1272-2A68-9BB1BB55422B}" dt="2025-10-22T17:41:53.614" v="6"/>
      <pc:docMkLst>
        <pc:docMk/>
      </pc:docMkLst>
      <pc:sldChg chg="modSp">
        <pc:chgData name="Frode Singstad (NO)" userId="S::frode.singstad@pwc.com::6e7333a6-999f-49b0-9714-e1a4f457baf0" providerId="AD" clId="Web-{08C43568-C099-1272-2A68-9BB1BB55422B}" dt="2025-10-22T17:30:33.749" v="5" actId="20577"/>
        <pc:sldMkLst>
          <pc:docMk/>
          <pc:sldMk cId="2638452686" sldId="2147475660"/>
        </pc:sldMkLst>
        <pc:spChg chg="mod">
          <ac:chgData name="Frode Singstad (NO)" userId="S::frode.singstad@pwc.com::6e7333a6-999f-49b0-9714-e1a4f457baf0" providerId="AD" clId="Web-{08C43568-C099-1272-2A68-9BB1BB55422B}" dt="2025-10-22T17:30:33.749" v="5" actId="20577"/>
          <ac:spMkLst>
            <pc:docMk/>
            <pc:sldMk cId="2638452686" sldId="2147475660"/>
            <ac:spMk id="4" creationId="{F36D0A01-95E7-EA08-4E70-FB67AA5DA749}"/>
          </ac:spMkLst>
        </pc:spChg>
      </pc:sldChg>
      <pc:sldChg chg="addSp delSp modSp">
        <pc:chgData name="Frode Singstad (NO)" userId="S::frode.singstad@pwc.com::6e7333a6-999f-49b0-9714-e1a4f457baf0" providerId="AD" clId="Web-{08C43568-C099-1272-2A68-9BB1BB55422B}" dt="2025-10-22T17:08:10.154" v="2"/>
        <pc:sldMkLst>
          <pc:docMk/>
          <pc:sldMk cId="1722889109" sldId="2147475664"/>
        </pc:sldMkLst>
        <pc:spChg chg="del">
          <ac:chgData name="Frode Singstad (NO)" userId="S::frode.singstad@pwc.com::6e7333a6-999f-49b0-9714-e1a4f457baf0" providerId="AD" clId="Web-{08C43568-C099-1272-2A68-9BB1BB55422B}" dt="2025-10-22T17:08:10.154" v="2"/>
          <ac:spMkLst>
            <pc:docMk/>
            <pc:sldMk cId="1722889109" sldId="2147475664"/>
            <ac:spMk id="2" creationId="{CF7EF6B3-CE5C-7459-7099-003DAAE47E15}"/>
          </ac:spMkLst>
        </pc:spChg>
        <pc:spChg chg="add mod">
          <ac:chgData name="Frode Singstad (NO)" userId="S::frode.singstad@pwc.com::6e7333a6-999f-49b0-9714-e1a4f457baf0" providerId="AD" clId="Web-{08C43568-C099-1272-2A68-9BB1BB55422B}" dt="2025-10-22T17:08:10.154" v="2"/>
          <ac:spMkLst>
            <pc:docMk/>
            <pc:sldMk cId="1722889109" sldId="2147475664"/>
            <ac:spMk id="4" creationId="{A1B70202-4CB8-C710-A566-9D2F9643AE5F}"/>
          </ac:spMkLst>
        </pc:spChg>
        <pc:spChg chg="mod">
          <ac:chgData name="Frode Singstad (NO)" userId="S::frode.singstad@pwc.com::6e7333a6-999f-49b0-9714-e1a4f457baf0" providerId="AD" clId="Web-{08C43568-C099-1272-2A68-9BB1BB55422B}" dt="2025-10-22T17:08:02.639" v="1" actId="20577"/>
          <ac:spMkLst>
            <pc:docMk/>
            <pc:sldMk cId="1722889109" sldId="2147475664"/>
            <ac:spMk id="19" creationId="{E56B5F9E-1A90-EE45-BB6C-F83B8B177956}"/>
          </ac:spMkLst>
        </pc:spChg>
      </pc:sldChg>
      <pc:sldChg chg="new">
        <pc:chgData name="Frode Singstad (NO)" userId="S::frode.singstad@pwc.com::6e7333a6-999f-49b0-9714-e1a4f457baf0" providerId="AD" clId="Web-{08C43568-C099-1272-2A68-9BB1BB55422B}" dt="2025-10-22T17:41:53.614" v="6"/>
        <pc:sldMkLst>
          <pc:docMk/>
          <pc:sldMk cId="4251043871" sldId="2147475674"/>
        </pc:sldMkLst>
      </pc:sldChg>
    </pc:docChg>
  </pc:docChgLst>
  <pc:docChgLst>
    <pc:chgData name="Frode Singstad (NO)" userId="S::frode.singstad@pwc.com::6e7333a6-999f-49b0-9714-e1a4f457baf0" providerId="AD" clId="Web-{A80996AA-B045-F696-E114-90B27478B878}"/>
    <pc:docChg chg="modSld">
      <pc:chgData name="Frode Singstad (NO)" userId="S::frode.singstad@pwc.com::6e7333a6-999f-49b0-9714-e1a4f457baf0" providerId="AD" clId="Web-{A80996AA-B045-F696-E114-90B27478B878}" dt="2025-10-21T11:35:55.761" v="62"/>
      <pc:docMkLst>
        <pc:docMk/>
      </pc:docMkLst>
      <pc:sldChg chg="modSp">
        <pc:chgData name="Frode Singstad (NO)" userId="S::frode.singstad@pwc.com::6e7333a6-999f-49b0-9714-e1a4f457baf0" providerId="AD" clId="Web-{A80996AA-B045-F696-E114-90B27478B878}" dt="2025-10-21T11:34:33.214" v="15" actId="20577"/>
        <pc:sldMkLst>
          <pc:docMk/>
          <pc:sldMk cId="1918188371" sldId="2147475662"/>
        </pc:sldMkLst>
        <pc:spChg chg="mod">
          <ac:chgData name="Frode Singstad (NO)" userId="S::frode.singstad@pwc.com::6e7333a6-999f-49b0-9714-e1a4f457baf0" providerId="AD" clId="Web-{A80996AA-B045-F696-E114-90B27478B878}" dt="2025-10-21T11:34:33.214" v="15" actId="20577"/>
          <ac:spMkLst>
            <pc:docMk/>
            <pc:sldMk cId="1918188371" sldId="2147475662"/>
            <ac:spMk id="3" creationId="{7C3CB859-DC6E-62D7-DB07-4CCAF97CED8F}"/>
          </ac:spMkLst>
        </pc:spChg>
      </pc:sldChg>
      <pc:sldChg chg="addSp delSp modSp">
        <pc:chgData name="Frode Singstad (NO)" userId="S::frode.singstad@pwc.com::6e7333a6-999f-49b0-9714-e1a4f457baf0" providerId="AD" clId="Web-{A80996AA-B045-F696-E114-90B27478B878}" dt="2025-10-21T11:35:55.761" v="62"/>
        <pc:sldMkLst>
          <pc:docMk/>
          <pc:sldMk cId="2634647708" sldId="2147475668"/>
        </pc:sldMkLst>
        <pc:spChg chg="mod">
          <ac:chgData name="Frode Singstad (NO)" userId="S::frode.singstad@pwc.com::6e7333a6-999f-49b0-9714-e1a4f457baf0" providerId="AD" clId="Web-{A80996AA-B045-F696-E114-90B27478B878}" dt="2025-10-21T11:35:50.261" v="58" actId="14100"/>
          <ac:spMkLst>
            <pc:docMk/>
            <pc:sldMk cId="2634647708" sldId="2147475668"/>
            <ac:spMk id="3" creationId="{72C2006E-C5C5-5EC2-BFAE-842358298027}"/>
          </ac:spMkLst>
        </pc:spChg>
        <pc:spChg chg="del mod">
          <ac:chgData name="Frode Singstad (NO)" userId="S::frode.singstad@pwc.com::6e7333a6-999f-49b0-9714-e1a4f457baf0" providerId="AD" clId="Web-{A80996AA-B045-F696-E114-90B27478B878}" dt="2025-10-21T11:35:52.917" v="60"/>
          <ac:spMkLst>
            <pc:docMk/>
            <pc:sldMk cId="2634647708" sldId="2147475668"/>
            <ac:spMk id="4" creationId="{5D21A33E-1F73-0235-EC92-E2CA72A6E2EE}"/>
          </ac:spMkLst>
        </pc:spChg>
        <pc:spChg chg="del mod">
          <ac:chgData name="Frode Singstad (NO)" userId="S::frode.singstad@pwc.com::6e7333a6-999f-49b0-9714-e1a4f457baf0" providerId="AD" clId="Web-{A80996AA-B045-F696-E114-90B27478B878}" dt="2025-10-21T11:35:52.870" v="59"/>
          <ac:spMkLst>
            <pc:docMk/>
            <pc:sldMk cId="2634647708" sldId="2147475668"/>
            <ac:spMk id="5" creationId="{F206BEA1-2EF9-3ED4-8193-1C0D7529FC22}"/>
          </ac:spMkLst>
        </pc:spChg>
        <pc:spChg chg="add del mod">
          <ac:chgData name="Frode Singstad (NO)" userId="S::frode.singstad@pwc.com::6e7333a6-999f-49b0-9714-e1a4f457baf0" providerId="AD" clId="Web-{A80996AA-B045-F696-E114-90B27478B878}" dt="2025-10-21T11:35:55.761" v="62"/>
          <ac:spMkLst>
            <pc:docMk/>
            <pc:sldMk cId="2634647708" sldId="2147475668"/>
            <ac:spMk id="9" creationId="{9678EF56-70AE-7164-3E4E-2CD5BB5904F5}"/>
          </ac:spMkLst>
        </pc:spChg>
        <pc:spChg chg="add del mod">
          <ac:chgData name="Frode Singstad (NO)" userId="S::frode.singstad@pwc.com::6e7333a6-999f-49b0-9714-e1a4f457baf0" providerId="AD" clId="Web-{A80996AA-B045-F696-E114-90B27478B878}" dt="2025-10-21T11:35:55.761" v="61"/>
          <ac:spMkLst>
            <pc:docMk/>
            <pc:sldMk cId="2634647708" sldId="2147475668"/>
            <ac:spMk id="11" creationId="{9842AF45-0395-2DBB-691F-108528B4B995}"/>
          </ac:spMkLst>
        </pc:spChg>
      </pc:sldChg>
    </pc:docChg>
  </pc:docChgLst>
  <pc:docChgLst>
    <pc:chgData name="Frode Singstad (NO)" userId="S::frode.singstad@pwc.com::6e7333a6-999f-49b0-9714-e1a4f457baf0" providerId="AD" clId="Web-{111A43F0-80AB-10C3-0224-ABDEFD74F6A1}"/>
    <pc:docChg chg="addSld delSld modSld sldOrd">
      <pc:chgData name="Frode Singstad (NO)" userId="S::frode.singstad@pwc.com::6e7333a6-999f-49b0-9714-e1a4f457baf0" providerId="AD" clId="Web-{111A43F0-80AB-10C3-0224-ABDEFD74F6A1}" dt="2025-10-21T08:06:38.876" v="637" actId="1076"/>
      <pc:docMkLst>
        <pc:docMk/>
      </pc:docMkLst>
      <pc:sldChg chg="delSp modSp">
        <pc:chgData name="Frode Singstad (NO)" userId="S::frode.singstad@pwc.com::6e7333a6-999f-49b0-9714-e1a4f457baf0" providerId="AD" clId="Web-{111A43F0-80AB-10C3-0224-ABDEFD74F6A1}" dt="2025-10-21T08:06:38.876" v="637" actId="1076"/>
        <pc:sldMkLst>
          <pc:docMk/>
          <pc:sldMk cId="2172652911" sldId="271"/>
        </pc:sldMkLst>
        <pc:spChg chg="del mod">
          <ac:chgData name="Frode Singstad (NO)" userId="S::frode.singstad@pwc.com::6e7333a6-999f-49b0-9714-e1a4f457baf0" providerId="AD" clId="Web-{111A43F0-80AB-10C3-0224-ABDEFD74F6A1}" dt="2025-10-21T08:06:22.235" v="629"/>
          <ac:spMkLst>
            <pc:docMk/>
            <pc:sldMk cId="2172652911" sldId="271"/>
            <ac:spMk id="12" creationId="{18999163-CC71-3872-C5B8-FED511817754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8:06:38.860" v="636" actId="1076"/>
          <ac:spMkLst>
            <pc:docMk/>
            <pc:sldMk cId="2172652911" sldId="271"/>
            <ac:spMk id="13" creationId="{8C090EBF-38B8-E36D-2DAA-14D6378A4A82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8:06:38.876" v="637" actId="1076"/>
          <ac:spMkLst>
            <pc:docMk/>
            <pc:sldMk cId="2172652911" sldId="271"/>
            <ac:spMk id="54" creationId="{A9363CE5-8CDB-9072-48CF-7F7ABA2386CD}"/>
          </ac:spMkLst>
        </pc:spChg>
      </pc:sldChg>
      <pc:sldChg chg="modSp">
        <pc:chgData name="Frode Singstad (NO)" userId="S::frode.singstad@pwc.com::6e7333a6-999f-49b0-9714-e1a4f457baf0" providerId="AD" clId="Web-{111A43F0-80AB-10C3-0224-ABDEFD74F6A1}" dt="2025-10-21T07:13:50.078" v="2" actId="20577"/>
        <pc:sldMkLst>
          <pc:docMk/>
          <pc:sldMk cId="2206172522" sldId="2147475647"/>
        </pc:sldMkLst>
        <pc:spChg chg="mod">
          <ac:chgData name="Frode Singstad (NO)" userId="S::frode.singstad@pwc.com::6e7333a6-999f-49b0-9714-e1a4f457baf0" providerId="AD" clId="Web-{111A43F0-80AB-10C3-0224-ABDEFD74F6A1}" dt="2025-10-21T07:13:50.078" v="2" actId="20577"/>
          <ac:spMkLst>
            <pc:docMk/>
            <pc:sldMk cId="2206172522" sldId="2147475647"/>
            <ac:spMk id="12" creationId="{8CFA9E98-D9DD-95C6-71A1-680818EAD178}"/>
          </ac:spMkLst>
        </pc:spChg>
      </pc:sldChg>
      <pc:sldChg chg="modSp">
        <pc:chgData name="Frode Singstad (NO)" userId="S::frode.singstad@pwc.com::6e7333a6-999f-49b0-9714-e1a4f457baf0" providerId="AD" clId="Web-{111A43F0-80AB-10C3-0224-ABDEFD74F6A1}" dt="2025-10-21T07:14:01.657" v="7" actId="1076"/>
        <pc:sldMkLst>
          <pc:docMk/>
          <pc:sldMk cId="1599340388" sldId="2147475651"/>
        </pc:sldMkLst>
        <pc:picChg chg="mod">
          <ac:chgData name="Frode Singstad (NO)" userId="S::frode.singstad@pwc.com::6e7333a6-999f-49b0-9714-e1a4f457baf0" providerId="AD" clId="Web-{111A43F0-80AB-10C3-0224-ABDEFD74F6A1}" dt="2025-10-21T07:14:01.594" v="3" actId="1076"/>
          <ac:picMkLst>
            <pc:docMk/>
            <pc:sldMk cId="1599340388" sldId="2147475651"/>
            <ac:picMk id="16" creationId="{B7D0E532-936C-F99E-7A77-6926BCE8C013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14:01.610" v="4" actId="1076"/>
          <ac:picMkLst>
            <pc:docMk/>
            <pc:sldMk cId="1599340388" sldId="2147475651"/>
            <ac:picMk id="17" creationId="{1B647157-5550-F836-857B-FA6FC81AA931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14:01.625" v="5" actId="1076"/>
          <ac:picMkLst>
            <pc:docMk/>
            <pc:sldMk cId="1599340388" sldId="2147475651"/>
            <ac:picMk id="19" creationId="{F8D9F00F-D4D8-F747-FC56-D031D39449FE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14:01.641" v="6" actId="1076"/>
          <ac:picMkLst>
            <pc:docMk/>
            <pc:sldMk cId="1599340388" sldId="2147475651"/>
            <ac:picMk id="20" creationId="{F7086A9E-1F53-7DF4-6F68-E8D2912E8D0C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14:01.657" v="7" actId="1076"/>
          <ac:picMkLst>
            <pc:docMk/>
            <pc:sldMk cId="1599340388" sldId="2147475651"/>
            <ac:picMk id="21" creationId="{8FE57908-E3B3-AF14-B9E4-517E40C3F9D3}"/>
          </ac:picMkLst>
        </pc:picChg>
      </pc:sldChg>
      <pc:sldChg chg="modSp">
        <pc:chgData name="Frode Singstad (NO)" userId="S::frode.singstad@pwc.com::6e7333a6-999f-49b0-9714-e1a4f457baf0" providerId="AD" clId="Web-{111A43F0-80AB-10C3-0224-ABDEFD74F6A1}" dt="2025-10-21T07:14:28.595" v="21" actId="20577"/>
        <pc:sldMkLst>
          <pc:docMk/>
          <pc:sldMk cId="3579534903" sldId="2147475654"/>
        </pc:sldMkLst>
        <pc:spChg chg="mod">
          <ac:chgData name="Frode Singstad (NO)" userId="S::frode.singstad@pwc.com::6e7333a6-999f-49b0-9714-e1a4f457baf0" providerId="AD" clId="Web-{111A43F0-80AB-10C3-0224-ABDEFD74F6A1}" dt="2025-10-21T07:14:28.595" v="21" actId="20577"/>
          <ac:spMkLst>
            <pc:docMk/>
            <pc:sldMk cId="3579534903" sldId="2147475654"/>
            <ac:spMk id="5" creationId="{2789D83C-7039-C530-E2B9-25A8F13D6ABF}"/>
          </ac:spMkLst>
        </pc:spChg>
      </pc:sldChg>
      <pc:sldChg chg="addSp delSp modSp addAnim delAnim modNotes">
        <pc:chgData name="Frode Singstad (NO)" userId="S::frode.singstad@pwc.com::6e7333a6-999f-49b0-9714-e1a4f457baf0" providerId="AD" clId="Web-{111A43F0-80AB-10C3-0224-ABDEFD74F6A1}" dt="2025-10-21T07:51:42.014" v="201" actId="1076"/>
        <pc:sldMkLst>
          <pc:docMk/>
          <pc:sldMk cId="250196457" sldId="2147475655"/>
        </pc:sldMkLst>
        <pc:spChg chg="mod">
          <ac:chgData name="Frode Singstad (NO)" userId="S::frode.singstad@pwc.com::6e7333a6-999f-49b0-9714-e1a4f457baf0" providerId="AD" clId="Web-{111A43F0-80AB-10C3-0224-ABDEFD74F6A1}" dt="2025-10-21T07:49:53.028" v="181" actId="20577"/>
          <ac:spMkLst>
            <pc:docMk/>
            <pc:sldMk cId="250196457" sldId="2147475655"/>
            <ac:spMk id="2" creationId="{D4919E55-C958-2393-08F7-A417723D8244}"/>
          </ac:spMkLst>
        </pc:spChg>
        <pc:spChg chg="add del mod">
          <ac:chgData name="Frode Singstad (NO)" userId="S::frode.singstad@pwc.com::6e7333a6-999f-49b0-9714-e1a4f457baf0" providerId="AD" clId="Web-{111A43F0-80AB-10C3-0224-ABDEFD74F6A1}" dt="2025-10-21T07:39:42.150" v="118"/>
          <ac:spMkLst>
            <pc:docMk/>
            <pc:sldMk cId="250196457" sldId="2147475655"/>
            <ac:spMk id="3" creationId="{64C2B1EA-9CB1-42CB-C1D6-86F589AD5BA5}"/>
          </ac:spMkLst>
        </pc:spChg>
        <pc:spChg chg="add mod">
          <ac:chgData name="Frode Singstad (NO)" userId="S::frode.singstad@pwc.com::6e7333a6-999f-49b0-9714-e1a4f457baf0" providerId="AD" clId="Web-{111A43F0-80AB-10C3-0224-ABDEFD74F6A1}" dt="2025-10-21T07:51:42.014" v="201" actId="1076"/>
          <ac:spMkLst>
            <pc:docMk/>
            <pc:sldMk cId="250196457" sldId="2147475655"/>
            <ac:spMk id="5" creationId="{3BA341D3-DA07-7EEA-9172-CEABA256BC16}"/>
          </ac:spMkLst>
        </pc:spChg>
        <pc:picChg chg="add mod">
          <ac:chgData name="Frode Singstad (NO)" userId="S::frode.singstad@pwc.com::6e7333a6-999f-49b0-9714-e1a4f457baf0" providerId="AD" clId="Web-{111A43F0-80AB-10C3-0224-ABDEFD74F6A1}" dt="2025-10-21T07:51:35.264" v="200" actId="1076"/>
          <ac:picMkLst>
            <pc:docMk/>
            <pc:sldMk cId="250196457" sldId="2147475655"/>
            <ac:picMk id="4" creationId="{EA00AB1E-183F-D3C7-076E-50EB0A54C467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50:10.591" v="188" actId="14100"/>
          <ac:picMkLst>
            <pc:docMk/>
            <pc:sldMk cId="250196457" sldId="2147475655"/>
            <ac:picMk id="12" creationId="{23949BCD-5C4B-E35E-CA32-C397C8E3334F}"/>
          </ac:picMkLst>
        </pc:picChg>
      </pc:sldChg>
      <pc:sldChg chg="ord">
        <pc:chgData name="Frode Singstad (NO)" userId="S::frode.singstad@pwc.com::6e7333a6-999f-49b0-9714-e1a4f457baf0" providerId="AD" clId="Web-{111A43F0-80AB-10C3-0224-ABDEFD74F6A1}" dt="2025-10-21T08:05:45.672" v="622"/>
        <pc:sldMkLst>
          <pc:docMk/>
          <pc:sldMk cId="1019667530" sldId="2147475656"/>
        </pc:sldMkLst>
      </pc:sldChg>
      <pc:sldChg chg="modSp delAnim modAnim">
        <pc:chgData name="Frode Singstad (NO)" userId="S::frode.singstad@pwc.com::6e7333a6-999f-49b0-9714-e1a4f457baf0" providerId="AD" clId="Web-{111A43F0-80AB-10C3-0224-ABDEFD74F6A1}" dt="2025-10-21T08:04:50.624" v="613" actId="20577"/>
        <pc:sldMkLst>
          <pc:docMk/>
          <pc:sldMk cId="2947401411" sldId="2147475657"/>
        </pc:sldMkLst>
        <pc:spChg chg="mod">
          <ac:chgData name="Frode Singstad (NO)" userId="S::frode.singstad@pwc.com::6e7333a6-999f-49b0-9714-e1a4f457baf0" providerId="AD" clId="Web-{111A43F0-80AB-10C3-0224-ABDEFD74F6A1}" dt="2025-10-21T08:04:50.624" v="613" actId="20577"/>
          <ac:spMkLst>
            <pc:docMk/>
            <pc:sldMk cId="2947401411" sldId="2147475657"/>
            <ac:spMk id="2" creationId="{E730C31B-20B2-4BB0-D028-A542CE78C667}"/>
          </ac:spMkLst>
        </pc:spChg>
      </pc:sldChg>
      <pc:sldChg chg="modSp ord delAnim">
        <pc:chgData name="Frode Singstad (NO)" userId="S::frode.singstad@pwc.com::6e7333a6-999f-49b0-9714-e1a4f457baf0" providerId="AD" clId="Web-{111A43F0-80AB-10C3-0224-ABDEFD74F6A1}" dt="2025-10-21T08:05:14" v="620" actId="14100"/>
        <pc:sldMkLst>
          <pc:docMk/>
          <pc:sldMk cId="126751161" sldId="2147475658"/>
        </pc:sldMkLst>
        <pc:spChg chg="mod">
          <ac:chgData name="Frode Singstad (NO)" userId="S::frode.singstad@pwc.com::6e7333a6-999f-49b0-9714-e1a4f457baf0" providerId="AD" clId="Web-{111A43F0-80AB-10C3-0224-ABDEFD74F6A1}" dt="2025-10-21T08:05:14" v="620" actId="14100"/>
          <ac:spMkLst>
            <pc:docMk/>
            <pc:sldMk cId="126751161" sldId="2147475658"/>
            <ac:spMk id="2" creationId="{C24C899F-A47C-B251-86C2-16538922ED4B}"/>
          </ac:spMkLst>
        </pc:spChg>
      </pc:sldChg>
      <pc:sldChg chg="mod delAnim modShow">
        <pc:chgData name="Frode Singstad (NO)" userId="S::frode.singstad@pwc.com::6e7333a6-999f-49b0-9714-e1a4f457baf0" providerId="AD" clId="Web-{111A43F0-80AB-10C3-0224-ABDEFD74F6A1}" dt="2025-10-21T07:59:45.395" v="461"/>
        <pc:sldMkLst>
          <pc:docMk/>
          <pc:sldMk cId="3052489705" sldId="2147475659"/>
        </pc:sldMkLst>
      </pc:sldChg>
      <pc:sldChg chg="modSp modNotes">
        <pc:chgData name="Frode Singstad (NO)" userId="S::frode.singstad@pwc.com::6e7333a6-999f-49b0-9714-e1a4f457baf0" providerId="AD" clId="Web-{111A43F0-80AB-10C3-0224-ABDEFD74F6A1}" dt="2025-10-21T07:57:38.001" v="375"/>
        <pc:sldMkLst>
          <pc:docMk/>
          <pc:sldMk cId="2638452686" sldId="2147475660"/>
        </pc:sldMkLst>
        <pc:spChg chg="mod">
          <ac:chgData name="Frode Singstad (NO)" userId="S::frode.singstad@pwc.com::6e7333a6-999f-49b0-9714-e1a4f457baf0" providerId="AD" clId="Web-{111A43F0-80AB-10C3-0224-ABDEFD74F6A1}" dt="2025-10-21T07:31:43.850" v="75" actId="20577"/>
          <ac:spMkLst>
            <pc:docMk/>
            <pc:sldMk cId="2638452686" sldId="2147475660"/>
            <ac:spMk id="42" creationId="{E6E7E66E-3973-A2A0-8E85-EA4B9A6AD7F3}"/>
          </ac:spMkLst>
        </pc:spChg>
      </pc:sldChg>
      <pc:sldChg chg="delAnim">
        <pc:chgData name="Frode Singstad (NO)" userId="S::frode.singstad@pwc.com::6e7333a6-999f-49b0-9714-e1a4f457baf0" providerId="AD" clId="Web-{111A43F0-80AB-10C3-0224-ABDEFD74F6A1}" dt="2025-10-21T07:16:03.033" v="47"/>
        <pc:sldMkLst>
          <pc:docMk/>
          <pc:sldMk cId="223164002" sldId="2147475661"/>
        </pc:sldMkLst>
      </pc:sldChg>
      <pc:sldChg chg="ord">
        <pc:chgData name="Frode Singstad (NO)" userId="S::frode.singstad@pwc.com::6e7333a6-999f-49b0-9714-e1a4f457baf0" providerId="AD" clId="Web-{111A43F0-80AB-10C3-0224-ABDEFD74F6A1}" dt="2025-10-21T08:05:45.672" v="621"/>
        <pc:sldMkLst>
          <pc:docMk/>
          <pc:sldMk cId="1429296014" sldId="2147475663"/>
        </pc:sldMkLst>
      </pc:sldChg>
      <pc:sldChg chg="modSp">
        <pc:chgData name="Frode Singstad (NO)" userId="S::frode.singstad@pwc.com::6e7333a6-999f-49b0-9714-e1a4f457baf0" providerId="AD" clId="Web-{111A43F0-80AB-10C3-0224-ABDEFD74F6A1}" dt="2025-10-21T07:16:46.831" v="61" actId="20577"/>
        <pc:sldMkLst>
          <pc:docMk/>
          <pc:sldMk cId="1722889109" sldId="2147475664"/>
        </pc:sldMkLst>
        <pc:spChg chg="mod">
          <ac:chgData name="Frode Singstad (NO)" userId="S::frode.singstad@pwc.com::6e7333a6-999f-49b0-9714-e1a4f457baf0" providerId="AD" clId="Web-{111A43F0-80AB-10C3-0224-ABDEFD74F6A1}" dt="2025-10-21T07:16:46.831" v="61" actId="20577"/>
          <ac:spMkLst>
            <pc:docMk/>
            <pc:sldMk cId="1722889109" sldId="2147475664"/>
            <ac:spMk id="19" creationId="{E56B5F9E-1A90-EE45-BB6C-F83B8B177956}"/>
          </ac:spMkLst>
        </pc:spChg>
      </pc:sldChg>
      <pc:sldChg chg="addSp delSp modSp ord">
        <pc:chgData name="Frode Singstad (NO)" userId="S::frode.singstad@pwc.com::6e7333a6-999f-49b0-9714-e1a4f457baf0" providerId="AD" clId="Web-{111A43F0-80AB-10C3-0224-ABDEFD74F6A1}" dt="2025-10-21T07:56:41.626" v="326"/>
        <pc:sldMkLst>
          <pc:docMk/>
          <pc:sldMk cId="2924542330" sldId="2147475665"/>
        </pc:sldMkLst>
        <pc:spChg chg="mod">
          <ac:chgData name="Frode Singstad (NO)" userId="S::frode.singstad@pwc.com::6e7333a6-999f-49b0-9714-e1a4f457baf0" providerId="AD" clId="Web-{111A43F0-80AB-10C3-0224-ABDEFD74F6A1}" dt="2025-10-21T07:54:19.562" v="259" actId="20577"/>
          <ac:spMkLst>
            <pc:docMk/>
            <pc:sldMk cId="2924542330" sldId="2147475665"/>
            <ac:spMk id="2" creationId="{928BD607-0EED-CA2E-A064-EF247DF3E1B2}"/>
          </ac:spMkLst>
        </pc:spChg>
        <pc:spChg chg="add mod">
          <ac:chgData name="Frode Singstad (NO)" userId="S::frode.singstad@pwc.com::6e7333a6-999f-49b0-9714-e1a4f457baf0" providerId="AD" clId="Web-{111A43F0-80AB-10C3-0224-ABDEFD74F6A1}" dt="2025-10-21T07:54:25.281" v="266" actId="1076"/>
          <ac:spMkLst>
            <pc:docMk/>
            <pc:sldMk cId="2924542330" sldId="2147475665"/>
            <ac:spMk id="3" creationId="{0F7A8811-5A98-A024-463D-784757D56986}"/>
          </ac:spMkLst>
        </pc:spChg>
        <pc:spChg chg="add del">
          <ac:chgData name="Frode Singstad (NO)" userId="S::frode.singstad@pwc.com::6e7333a6-999f-49b0-9714-e1a4f457baf0" providerId="AD" clId="Web-{111A43F0-80AB-10C3-0224-ABDEFD74F6A1}" dt="2025-10-21T07:53:45.250" v="215"/>
          <ac:spMkLst>
            <pc:docMk/>
            <pc:sldMk cId="2924542330" sldId="2147475665"/>
            <ac:spMk id="4" creationId="{EB434B04-9C91-24C7-3C75-C13DB0552E25}"/>
          </ac:spMkLst>
        </pc:spChg>
        <pc:spChg chg="add mod">
          <ac:chgData name="Frode Singstad (NO)" userId="S::frode.singstad@pwc.com::6e7333a6-999f-49b0-9714-e1a4f457baf0" providerId="AD" clId="Web-{111A43F0-80AB-10C3-0224-ABDEFD74F6A1}" dt="2025-10-21T07:56:28.376" v="325"/>
          <ac:spMkLst>
            <pc:docMk/>
            <pc:sldMk cId="2924542330" sldId="2147475665"/>
            <ac:spMk id="5" creationId="{DA496AFD-0315-2443-D058-B7B611317ED5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7:54:50.563" v="267" actId="20577"/>
          <ac:spMkLst>
            <pc:docMk/>
            <pc:sldMk cId="2924542330" sldId="2147475665"/>
            <ac:spMk id="15" creationId="{307F6340-4480-C0FC-FE4B-135BE0616D41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7:54:25.250" v="261" actId="1076"/>
          <ac:spMkLst>
            <pc:docMk/>
            <pc:sldMk cId="2924542330" sldId="2147475665"/>
            <ac:spMk id="16" creationId="{EF1C4F91-84A1-9ACB-42BA-7A5818453A53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7:54:57.813" v="269" actId="20577"/>
          <ac:spMkLst>
            <pc:docMk/>
            <pc:sldMk cId="2924542330" sldId="2147475665"/>
            <ac:spMk id="17" creationId="{5F15E04B-8B90-7908-74B1-51B9A19734A6}"/>
          </ac:spMkLst>
        </pc:spChg>
        <pc:picChg chg="mod">
          <ac:chgData name="Frode Singstad (NO)" userId="S::frode.singstad@pwc.com::6e7333a6-999f-49b0-9714-e1a4f457baf0" providerId="AD" clId="Web-{111A43F0-80AB-10C3-0224-ABDEFD74F6A1}" dt="2025-10-21T07:54:25.266" v="263" actId="1076"/>
          <ac:picMkLst>
            <pc:docMk/>
            <pc:sldMk cId="2924542330" sldId="2147475665"/>
            <ac:picMk id="18" creationId="{886BF385-17CB-FCA0-A2F4-5DFCD07EBBFB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54:25.266" v="264" actId="1076"/>
          <ac:picMkLst>
            <pc:docMk/>
            <pc:sldMk cId="2924542330" sldId="2147475665"/>
            <ac:picMk id="22" creationId="{9F947E35-9326-44A3-61C8-82186534F923}"/>
          </ac:picMkLst>
        </pc:picChg>
        <pc:picChg chg="mod">
          <ac:chgData name="Frode Singstad (NO)" userId="S::frode.singstad@pwc.com::6e7333a6-999f-49b0-9714-e1a4f457baf0" providerId="AD" clId="Web-{111A43F0-80AB-10C3-0224-ABDEFD74F6A1}" dt="2025-10-21T07:54:25.281" v="265" actId="1076"/>
          <ac:picMkLst>
            <pc:docMk/>
            <pc:sldMk cId="2924542330" sldId="2147475665"/>
            <ac:picMk id="24" creationId="{0E6FEB44-C8F3-6367-CF5F-E74C9CEB01B5}"/>
          </ac:picMkLst>
        </pc:picChg>
      </pc:sldChg>
      <pc:sldChg chg="addSp delSp modSp new del">
        <pc:chgData name="Frode Singstad (NO)" userId="S::frode.singstad@pwc.com::6e7333a6-999f-49b0-9714-e1a4f457baf0" providerId="AD" clId="Web-{111A43F0-80AB-10C3-0224-ABDEFD74F6A1}" dt="2025-10-21T08:04:32.296" v="606"/>
        <pc:sldMkLst>
          <pc:docMk/>
          <pc:sldMk cId="622325101" sldId="2147475666"/>
        </pc:sldMkLst>
        <pc:spChg chg="mod">
          <ac:chgData name="Frode Singstad (NO)" userId="S::frode.singstad@pwc.com::6e7333a6-999f-49b0-9714-e1a4f457baf0" providerId="AD" clId="Web-{111A43F0-80AB-10C3-0224-ABDEFD74F6A1}" dt="2025-10-21T08:04:29.530" v="605" actId="20577"/>
          <ac:spMkLst>
            <pc:docMk/>
            <pc:sldMk cId="622325101" sldId="2147475666"/>
            <ac:spMk id="2" creationId="{6C41D09F-FD96-AD8E-FC68-6DB9CEABBA23}"/>
          </ac:spMkLst>
        </pc:spChg>
        <pc:spChg chg="del">
          <ac:chgData name="Frode Singstad (NO)" userId="S::frode.singstad@pwc.com::6e7333a6-999f-49b0-9714-e1a4f457baf0" providerId="AD" clId="Web-{111A43F0-80AB-10C3-0224-ABDEFD74F6A1}" dt="2025-10-21T08:02:54.043" v="596"/>
          <ac:spMkLst>
            <pc:docMk/>
            <pc:sldMk cId="622325101" sldId="2147475666"/>
            <ac:spMk id="3" creationId="{6580CD17-54A5-4A3A-50AB-32DA51CD4242}"/>
          </ac:spMkLst>
        </pc:spChg>
        <pc:spChg chg="del">
          <ac:chgData name="Frode Singstad (NO)" userId="S::frode.singstad@pwc.com::6e7333a6-999f-49b0-9714-e1a4f457baf0" providerId="AD" clId="Web-{111A43F0-80AB-10C3-0224-ABDEFD74F6A1}" dt="2025-10-21T08:02:54.028" v="595"/>
          <ac:spMkLst>
            <pc:docMk/>
            <pc:sldMk cId="622325101" sldId="2147475666"/>
            <ac:spMk id="4" creationId="{F7141E86-586F-95CE-5E3A-DBA6441C1A6C}"/>
          </ac:spMkLst>
        </pc:spChg>
        <pc:spChg chg="del">
          <ac:chgData name="Frode Singstad (NO)" userId="S::frode.singstad@pwc.com::6e7333a6-999f-49b0-9714-e1a4f457baf0" providerId="AD" clId="Web-{111A43F0-80AB-10C3-0224-ABDEFD74F6A1}" dt="2025-10-21T08:02:54.028" v="594"/>
          <ac:spMkLst>
            <pc:docMk/>
            <pc:sldMk cId="622325101" sldId="2147475666"/>
            <ac:spMk id="5" creationId="{A91B8891-F31B-7CDD-4DD4-52B214B8569C}"/>
          </ac:spMkLst>
        </pc:spChg>
        <pc:picChg chg="add mod">
          <ac:chgData name="Frode Singstad (NO)" userId="S::frode.singstad@pwc.com::6e7333a6-999f-49b0-9714-e1a4f457baf0" providerId="AD" clId="Web-{111A43F0-80AB-10C3-0224-ABDEFD74F6A1}" dt="2025-10-21T08:03:50.685" v="603" actId="1076"/>
          <ac:picMkLst>
            <pc:docMk/>
            <pc:sldMk cId="622325101" sldId="2147475666"/>
            <ac:picMk id="8" creationId="{061533BB-7226-29F7-A370-7682401E3288}"/>
          </ac:picMkLst>
        </pc:picChg>
        <pc:picChg chg="add mod">
          <ac:chgData name="Frode Singstad (NO)" userId="S::frode.singstad@pwc.com::6e7333a6-999f-49b0-9714-e1a4f457baf0" providerId="AD" clId="Web-{111A43F0-80AB-10C3-0224-ABDEFD74F6A1}" dt="2025-10-21T08:03:50.701" v="604" actId="1076"/>
          <ac:picMkLst>
            <pc:docMk/>
            <pc:sldMk cId="622325101" sldId="2147475666"/>
            <ac:picMk id="9" creationId="{92F995AB-0D4D-9780-957D-36CBF0276213}"/>
          </ac:picMkLst>
        </pc:picChg>
      </pc:sldChg>
      <pc:sldChg chg="new del">
        <pc:chgData name="Frode Singstad (NO)" userId="S::frode.singstad@pwc.com::6e7333a6-999f-49b0-9714-e1a4f457baf0" providerId="AD" clId="Web-{111A43F0-80AB-10C3-0224-ABDEFD74F6A1}" dt="2025-10-21T08:04:37.061" v="607"/>
        <pc:sldMkLst>
          <pc:docMk/>
          <pc:sldMk cId="1555735938" sldId="2147475667"/>
        </pc:sldMkLst>
      </pc:sldChg>
      <pc:sldChg chg="addSp delSp modSp new">
        <pc:chgData name="Frode Singstad (NO)" userId="S::frode.singstad@pwc.com::6e7333a6-999f-49b0-9714-e1a4f457baf0" providerId="AD" clId="Web-{111A43F0-80AB-10C3-0224-ABDEFD74F6A1}" dt="2025-10-21T08:02:12.823" v="593" actId="14100"/>
        <pc:sldMkLst>
          <pc:docMk/>
          <pc:sldMk cId="2634647708" sldId="2147475668"/>
        </pc:sldMkLst>
        <pc:spChg chg="mod">
          <ac:chgData name="Frode Singstad (NO)" userId="S::frode.singstad@pwc.com::6e7333a6-999f-49b0-9714-e1a4f457baf0" providerId="AD" clId="Web-{111A43F0-80AB-10C3-0224-ABDEFD74F6A1}" dt="2025-10-21T08:00:45.085" v="566" actId="20577"/>
          <ac:spMkLst>
            <pc:docMk/>
            <pc:sldMk cId="2634647708" sldId="2147475668"/>
            <ac:spMk id="2" creationId="{78E7C6B4-CE3F-4B16-4FCC-C0E6C94F8B9E}"/>
          </ac:spMkLst>
        </pc:spChg>
        <pc:spChg chg="add del mod">
          <ac:chgData name="Frode Singstad (NO)" userId="S::frode.singstad@pwc.com::6e7333a6-999f-49b0-9714-e1a4f457baf0" providerId="AD" clId="Web-{111A43F0-80AB-10C3-0224-ABDEFD74F6A1}" dt="2025-10-21T08:02:12.807" v="591" actId="14100"/>
          <ac:spMkLst>
            <pc:docMk/>
            <pc:sldMk cId="2634647708" sldId="2147475668"/>
            <ac:spMk id="3" creationId="{72C2006E-C5C5-5EC2-BFAE-842358298027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8:02:12.823" v="592" actId="14100"/>
          <ac:spMkLst>
            <pc:docMk/>
            <pc:sldMk cId="2634647708" sldId="2147475668"/>
            <ac:spMk id="4" creationId="{5D21A33E-1F73-0235-EC92-E2CA72A6E2EE}"/>
          </ac:spMkLst>
        </pc:spChg>
        <pc:spChg chg="mod">
          <ac:chgData name="Frode Singstad (NO)" userId="S::frode.singstad@pwc.com::6e7333a6-999f-49b0-9714-e1a4f457baf0" providerId="AD" clId="Web-{111A43F0-80AB-10C3-0224-ABDEFD74F6A1}" dt="2025-10-21T08:02:12.823" v="593" actId="14100"/>
          <ac:spMkLst>
            <pc:docMk/>
            <pc:sldMk cId="2634647708" sldId="2147475668"/>
            <ac:spMk id="5" creationId="{F206BEA1-2EF9-3ED4-8193-1C0D7529FC22}"/>
          </ac:spMkLst>
        </pc:spChg>
        <pc:graphicFrameChg chg="add del mod ord modGraphic">
          <ac:chgData name="Frode Singstad (NO)" userId="S::frode.singstad@pwc.com::6e7333a6-999f-49b0-9714-e1a4f457baf0" providerId="AD" clId="Web-{111A43F0-80AB-10C3-0224-ABDEFD74F6A1}" dt="2025-10-21T08:01:45.885" v="568"/>
          <ac:graphicFrameMkLst>
            <pc:docMk/>
            <pc:sldMk cId="2634647708" sldId="2147475668"/>
            <ac:graphicFrameMk id="8" creationId="{36E5514D-9C31-89E5-731D-EFBFF78F82C2}"/>
          </ac:graphicFrameMkLst>
        </pc:graphicFrameChg>
      </pc:sldChg>
    </pc:docChg>
  </pc:docChgLst>
  <pc:docChgLst>
    <pc:chgData name="Frode Singstad (NO)" userId="S::frode.singstad@pwc.com::6e7333a6-999f-49b0-9714-e1a4f457baf0" providerId="AD" clId="Web-{5392AB0B-2FA9-7F5D-1CEC-1B64BE77EA0D}"/>
    <pc:docChg chg="addSld delSld modSld">
      <pc:chgData name="Frode Singstad (NO)" userId="S::frode.singstad@pwc.com::6e7333a6-999f-49b0-9714-e1a4f457baf0" providerId="AD" clId="Web-{5392AB0B-2FA9-7F5D-1CEC-1B64BE77EA0D}" dt="2025-10-21T18:30:22.269" v="16" actId="20577"/>
      <pc:docMkLst>
        <pc:docMk/>
      </pc:docMkLst>
      <pc:sldChg chg="modSp">
        <pc:chgData name="Frode Singstad (NO)" userId="S::frode.singstad@pwc.com::6e7333a6-999f-49b0-9714-e1a4f457baf0" providerId="AD" clId="Web-{5392AB0B-2FA9-7F5D-1CEC-1B64BE77EA0D}" dt="2025-10-21T18:30:22.269" v="16" actId="20577"/>
        <pc:sldMkLst>
          <pc:docMk/>
          <pc:sldMk cId="250196457" sldId="2147475655"/>
        </pc:sldMkLst>
        <pc:spChg chg="mod">
          <ac:chgData name="Frode Singstad (NO)" userId="S::frode.singstad@pwc.com::6e7333a6-999f-49b0-9714-e1a4f457baf0" providerId="AD" clId="Web-{5392AB0B-2FA9-7F5D-1CEC-1B64BE77EA0D}" dt="2025-10-21T18:30:22.269" v="16" actId="20577"/>
          <ac:spMkLst>
            <pc:docMk/>
            <pc:sldMk cId="250196457" sldId="2147475655"/>
            <ac:spMk id="2" creationId="{D4919E55-C958-2393-08F7-A417723D8244}"/>
          </ac:spMkLst>
        </pc:spChg>
        <pc:spChg chg="mod">
          <ac:chgData name="Frode Singstad (NO)" userId="S::frode.singstad@pwc.com::6e7333a6-999f-49b0-9714-e1a4f457baf0" providerId="AD" clId="Web-{5392AB0B-2FA9-7F5D-1CEC-1B64BE77EA0D}" dt="2025-10-21T18:10:57.818" v="2" actId="14100"/>
          <ac:spMkLst>
            <pc:docMk/>
            <pc:sldMk cId="250196457" sldId="2147475655"/>
            <ac:spMk id="5" creationId="{3BA341D3-DA07-7EEA-9172-CEABA256BC16}"/>
          </ac:spMkLst>
        </pc:spChg>
      </pc:sldChg>
      <pc:sldChg chg="modSp">
        <pc:chgData name="Frode Singstad (NO)" userId="S::frode.singstad@pwc.com::6e7333a6-999f-49b0-9714-e1a4f457baf0" providerId="AD" clId="Web-{5392AB0B-2FA9-7F5D-1CEC-1B64BE77EA0D}" dt="2025-10-21T18:30:00.269" v="13" actId="20577"/>
        <pc:sldMkLst>
          <pc:docMk/>
          <pc:sldMk cId="2568298915" sldId="2147475670"/>
        </pc:sldMkLst>
        <pc:spChg chg="mod">
          <ac:chgData name="Frode Singstad (NO)" userId="S::frode.singstad@pwc.com::6e7333a6-999f-49b0-9714-e1a4f457baf0" providerId="AD" clId="Web-{5392AB0B-2FA9-7F5D-1CEC-1B64BE77EA0D}" dt="2025-10-21T18:30:00.269" v="13" actId="20577"/>
          <ac:spMkLst>
            <pc:docMk/>
            <pc:sldMk cId="2568298915" sldId="2147475670"/>
            <ac:spMk id="16" creationId="{90446E5B-3D93-C12C-C621-CA475B3F5092}"/>
          </ac:spMkLst>
        </pc:spChg>
        <pc:spChg chg="mod">
          <ac:chgData name="Frode Singstad (NO)" userId="S::frode.singstad@pwc.com::6e7333a6-999f-49b0-9714-e1a4f457baf0" providerId="AD" clId="Web-{5392AB0B-2FA9-7F5D-1CEC-1B64BE77EA0D}" dt="2025-10-21T18:29:52.019" v="10" actId="1076"/>
          <ac:spMkLst>
            <pc:docMk/>
            <pc:sldMk cId="2568298915" sldId="2147475670"/>
            <ac:spMk id="17" creationId="{93BA6F2B-4EEB-586C-C2FA-4ECFF043F2B3}"/>
          </ac:spMkLst>
        </pc:spChg>
      </pc:sldChg>
      <pc:sldChg chg="add del mod replId modShow">
        <pc:chgData name="Frode Singstad (NO)" userId="S::frode.singstad@pwc.com::6e7333a6-999f-49b0-9714-e1a4f457baf0" providerId="AD" clId="Web-{5392AB0B-2FA9-7F5D-1CEC-1B64BE77EA0D}" dt="2025-10-21T18:28:53.018" v="6"/>
        <pc:sldMkLst>
          <pc:docMk/>
          <pc:sldMk cId="3459753189" sldId="2147475671"/>
        </pc:sldMkLst>
      </pc:sldChg>
      <pc:sldChg chg="add mod replId modShow">
        <pc:chgData name="Frode Singstad (NO)" userId="S::frode.singstad@pwc.com::6e7333a6-999f-49b0-9714-e1a4f457baf0" providerId="AD" clId="Web-{5392AB0B-2FA9-7F5D-1CEC-1B64BE77EA0D}" dt="2025-10-21T18:29:36.222" v="8"/>
        <pc:sldMkLst>
          <pc:docMk/>
          <pc:sldMk cId="4264466763" sldId="2147475671"/>
        </pc:sldMkLst>
      </pc:sldChg>
    </pc:docChg>
  </pc:docChgLst>
  <pc:docChgLst>
    <pc:chgData name="Frode Singstad (NO)" userId="S::frode.singstad@pwc.com::6e7333a6-999f-49b0-9714-e1a4f457baf0" providerId="AD" clId="Web-{432430D3-8B16-7B1C-D7AD-0F35B89EE76B}"/>
    <pc:docChg chg="modSld">
      <pc:chgData name="Frode Singstad (NO)" userId="S::frode.singstad@pwc.com::6e7333a6-999f-49b0-9714-e1a4f457baf0" providerId="AD" clId="Web-{432430D3-8B16-7B1C-D7AD-0F35B89EE76B}" dt="2025-10-22T10:51:57.920" v="5" actId="14100"/>
      <pc:docMkLst>
        <pc:docMk/>
      </pc:docMkLst>
      <pc:sldChg chg="addSp delSp modSp">
        <pc:chgData name="Frode Singstad (NO)" userId="S::frode.singstad@pwc.com::6e7333a6-999f-49b0-9714-e1a4f457baf0" providerId="AD" clId="Web-{432430D3-8B16-7B1C-D7AD-0F35B89EE76B}" dt="2025-10-22T10:50:25.982" v="0"/>
        <pc:sldMkLst>
          <pc:docMk/>
          <pc:sldMk cId="2052970285" sldId="2147471537"/>
        </pc:sldMkLst>
        <pc:spChg chg="add mod">
          <ac:chgData name="Frode Singstad (NO)" userId="S::frode.singstad@pwc.com::6e7333a6-999f-49b0-9714-e1a4f457baf0" providerId="AD" clId="Web-{432430D3-8B16-7B1C-D7AD-0F35B89EE76B}" dt="2025-10-22T10:50:25.982" v="0"/>
          <ac:spMkLst>
            <pc:docMk/>
            <pc:sldMk cId="2052970285" sldId="2147471537"/>
            <ac:spMk id="5" creationId="{83CE7143-FC96-5E57-66B9-5BD0C70729C0}"/>
          </ac:spMkLst>
        </pc:spChg>
        <pc:spChg chg="del">
          <ac:chgData name="Frode Singstad (NO)" userId="S::frode.singstad@pwc.com::6e7333a6-999f-49b0-9714-e1a4f457baf0" providerId="AD" clId="Web-{432430D3-8B16-7B1C-D7AD-0F35B89EE76B}" dt="2025-10-22T10:50:25.982" v="0"/>
          <ac:spMkLst>
            <pc:docMk/>
            <pc:sldMk cId="2052970285" sldId="2147471537"/>
            <ac:spMk id="6" creationId="{248724AB-1BF3-A040-1664-FDA05542585C}"/>
          </ac:spMkLst>
        </pc:spChg>
      </pc:sldChg>
      <pc:sldChg chg="modSp">
        <pc:chgData name="Frode Singstad (NO)" userId="S::frode.singstad@pwc.com::6e7333a6-999f-49b0-9714-e1a4f457baf0" providerId="AD" clId="Web-{432430D3-8B16-7B1C-D7AD-0F35B89EE76B}" dt="2025-10-22T10:50:37.716" v="1" actId="14100"/>
        <pc:sldMkLst>
          <pc:docMk/>
          <pc:sldMk cId="2206172522" sldId="2147475647"/>
        </pc:sldMkLst>
        <pc:spChg chg="mod">
          <ac:chgData name="Frode Singstad (NO)" userId="S::frode.singstad@pwc.com::6e7333a6-999f-49b0-9714-e1a4f457baf0" providerId="AD" clId="Web-{432430D3-8B16-7B1C-D7AD-0F35B89EE76B}" dt="2025-10-22T10:50:37.716" v="1" actId="14100"/>
          <ac:spMkLst>
            <pc:docMk/>
            <pc:sldMk cId="2206172522" sldId="2147475647"/>
            <ac:spMk id="12" creationId="{8CFA9E98-D9DD-95C6-71A1-680818EAD178}"/>
          </ac:spMkLst>
        </pc:spChg>
      </pc:sldChg>
      <pc:sldChg chg="delSp modSp">
        <pc:chgData name="Frode Singstad (NO)" userId="S::frode.singstad@pwc.com::6e7333a6-999f-49b0-9714-e1a4f457baf0" providerId="AD" clId="Web-{432430D3-8B16-7B1C-D7AD-0F35B89EE76B}" dt="2025-10-22T10:51:57.920" v="5" actId="14100"/>
        <pc:sldMkLst>
          <pc:docMk/>
          <pc:sldMk cId="250196457" sldId="2147475655"/>
        </pc:sldMkLst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8" creationId="{46D7FE7C-7F3D-E659-ACCA-7AC5FAC3199F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10" creationId="{4D83F8E3-4D16-51BF-9392-4096AEEED7B5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11" creationId="{3CD123B3-CCBA-79E1-9DB7-8780246DDCB6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13" creationId="{16A5E026-2401-4540-2931-3D3B4E6B1FBE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14" creationId="{9047DDD3-B215-2D5C-CFBA-FB2F4343A233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16" creationId="{2A1DD2F0-9315-CDE6-3255-455CAC3EF61A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17" creationId="{A5A7B1E6-304D-1E49-A42A-40301AF6A510}"/>
          </ac:spMkLst>
        </pc:spChg>
        <pc:spChg chg="mod">
          <ac:chgData name="Frode Singstad (NO)" userId="S::frode.singstad@pwc.com::6e7333a6-999f-49b0-9714-e1a4f457baf0" providerId="AD" clId="Web-{432430D3-8B16-7B1C-D7AD-0F35B89EE76B}" dt="2025-10-22T10:51:54.263" v="4" actId="1076"/>
          <ac:spMkLst>
            <pc:docMk/>
            <pc:sldMk cId="250196457" sldId="2147475655"/>
            <ac:spMk id="21" creationId="{822DF037-CFB0-4427-3DB0-41DCFA1E5EDE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25" creationId="{DA5F49DF-41BC-4469-243B-00763FE2311B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28" creationId="{8E0F6D26-61D5-50F9-B2FF-49B5B16A0FD1}"/>
          </ac:spMkLst>
        </pc:spChg>
        <pc:spChg chg="topLvl">
          <ac:chgData name="Frode Singstad (NO)" userId="S::frode.singstad@pwc.com::6e7333a6-999f-49b0-9714-e1a4f457baf0" providerId="AD" clId="Web-{432430D3-8B16-7B1C-D7AD-0F35B89EE76B}" dt="2025-10-22T10:51:29.935" v="3"/>
          <ac:spMkLst>
            <pc:docMk/>
            <pc:sldMk cId="250196457" sldId="2147475655"/>
            <ac:spMk id="30" creationId="{A1A6FCC7-0269-24CD-1D2D-6C1B8131DC56}"/>
          </ac:spMkLst>
        </pc:spChg>
        <pc:grpChg chg="mod">
          <ac:chgData name="Frode Singstad (NO)" userId="S::frode.singstad@pwc.com::6e7333a6-999f-49b0-9714-e1a4f457baf0" providerId="AD" clId="Web-{432430D3-8B16-7B1C-D7AD-0F35B89EE76B}" dt="2025-10-22T10:51:20.685" v="2" actId="1076"/>
          <ac:grpSpMkLst>
            <pc:docMk/>
            <pc:sldMk cId="250196457" sldId="2147475655"/>
            <ac:grpSpMk id="32" creationId="{5D4B9CA0-A6CE-2ABA-F07F-D6BCABF4B7BC}"/>
          </ac:grpSpMkLst>
        </pc:grpChg>
        <pc:cxnChg chg="mod">
          <ac:chgData name="Frode Singstad (NO)" userId="S::frode.singstad@pwc.com::6e7333a6-999f-49b0-9714-e1a4f457baf0" providerId="AD" clId="Web-{432430D3-8B16-7B1C-D7AD-0F35B89EE76B}" dt="2025-10-22T10:51:57.920" v="5" actId="14100"/>
          <ac:cxnSpMkLst>
            <pc:docMk/>
            <pc:sldMk cId="250196457" sldId="2147475655"/>
            <ac:cxnSpMk id="22" creationId="{81B9DCF1-B0DE-30C0-3B2E-1BCF7A8E1DB9}"/>
          </ac:cxnSpMkLst>
        </pc:cxnChg>
      </pc:sldChg>
    </pc:docChg>
  </pc:docChgLst>
  <pc:docChgLst>
    <pc:chgData name="Frode Singstad (NO)" userId="S::frode.singstad@pwc.com::6e7333a6-999f-49b0-9714-e1a4f457baf0" providerId="AD" clId="Web-{64EC7E78-BC0B-B63E-9F3B-2ECBF9089D35}"/>
    <pc:docChg chg="addSld modSld sldOrd">
      <pc:chgData name="Frode Singstad (NO)" userId="S::frode.singstad@pwc.com::6e7333a6-999f-49b0-9714-e1a4f457baf0" providerId="AD" clId="Web-{64EC7E78-BC0B-B63E-9F3B-2ECBF9089D35}" dt="2025-10-23T07:36:24.326" v="19"/>
      <pc:docMkLst>
        <pc:docMk/>
      </pc:docMkLst>
      <pc:sldChg chg="mod ord modShow">
        <pc:chgData name="Frode Singstad (NO)" userId="S::frode.singstad@pwc.com::6e7333a6-999f-49b0-9714-e1a4f457baf0" providerId="AD" clId="Web-{64EC7E78-BC0B-B63E-9F3B-2ECBF9089D35}" dt="2025-10-23T07:23:01.728" v="1"/>
        <pc:sldMkLst>
          <pc:docMk/>
          <pc:sldMk cId="1183497959" sldId="2147475648"/>
        </pc:sldMkLst>
      </pc:sldChg>
      <pc:sldChg chg="mod ord modShow">
        <pc:chgData name="Frode Singstad (NO)" userId="S::frode.singstad@pwc.com::6e7333a6-999f-49b0-9714-e1a4f457baf0" providerId="AD" clId="Web-{64EC7E78-BC0B-B63E-9F3B-2ECBF9089D35}" dt="2025-10-23T07:24:45.214" v="3"/>
        <pc:sldMkLst>
          <pc:docMk/>
          <pc:sldMk cId="3138258160" sldId="2147475652"/>
        </pc:sldMkLst>
      </pc:sldChg>
      <pc:sldChg chg="modSp">
        <pc:chgData name="Frode Singstad (NO)" userId="S::frode.singstad@pwc.com::6e7333a6-999f-49b0-9714-e1a4f457baf0" providerId="AD" clId="Web-{64EC7E78-BC0B-B63E-9F3B-2ECBF9089D35}" dt="2025-10-23T07:25:03.231" v="4" actId="20577"/>
        <pc:sldMkLst>
          <pc:docMk/>
          <pc:sldMk cId="94280791" sldId="2147475653"/>
        </pc:sldMkLst>
        <pc:spChg chg="mod">
          <ac:chgData name="Frode Singstad (NO)" userId="S::frode.singstad@pwc.com::6e7333a6-999f-49b0-9714-e1a4f457baf0" providerId="AD" clId="Web-{64EC7E78-BC0B-B63E-9F3B-2ECBF9089D35}" dt="2025-10-23T07:25:03.231" v="4" actId="20577"/>
          <ac:spMkLst>
            <pc:docMk/>
            <pc:sldMk cId="94280791" sldId="2147475653"/>
            <ac:spMk id="12" creationId="{8A6D945E-0C36-CBF5-A735-1CC10953BBA6}"/>
          </ac:spMkLst>
        </pc:spChg>
      </pc:sldChg>
      <pc:sldChg chg="ord">
        <pc:chgData name="Frode Singstad (NO)" userId="S::frode.singstad@pwc.com::6e7333a6-999f-49b0-9714-e1a4f457baf0" providerId="AD" clId="Web-{64EC7E78-BC0B-B63E-9F3B-2ECBF9089D35}" dt="2025-10-23T07:32:48.773" v="7"/>
        <pc:sldMkLst>
          <pc:docMk/>
          <pc:sldMk cId="2638452686" sldId="2147475660"/>
        </pc:sldMkLst>
      </pc:sldChg>
      <pc:sldChg chg="mod ord modShow">
        <pc:chgData name="Frode Singstad (NO)" userId="S::frode.singstad@pwc.com::6e7333a6-999f-49b0-9714-e1a4f457baf0" providerId="AD" clId="Web-{64EC7E78-BC0B-B63E-9F3B-2ECBF9089D35}" dt="2025-10-23T07:32:13.397" v="6"/>
        <pc:sldMkLst>
          <pc:docMk/>
          <pc:sldMk cId="4251043871" sldId="2147475674"/>
        </pc:sldMkLst>
      </pc:sldChg>
      <pc:sldChg chg="addSp delSp modSp new">
        <pc:chgData name="Frode Singstad (NO)" userId="S::frode.singstad@pwc.com::6e7333a6-999f-49b0-9714-e1a4f457baf0" providerId="AD" clId="Web-{64EC7E78-BC0B-B63E-9F3B-2ECBF9089D35}" dt="2025-10-23T07:36:24.326" v="19"/>
        <pc:sldMkLst>
          <pc:docMk/>
          <pc:sldMk cId="1694232763" sldId="2147475675"/>
        </pc:sldMkLst>
        <pc:spChg chg="del">
          <ac:chgData name="Frode Singstad (NO)" userId="S::frode.singstad@pwc.com::6e7333a6-999f-49b0-9714-e1a4f457baf0" providerId="AD" clId="Web-{64EC7E78-BC0B-B63E-9F3B-2ECBF9089D35}" dt="2025-10-23T07:35:33.371" v="10"/>
          <ac:spMkLst>
            <pc:docMk/>
            <pc:sldMk cId="1694232763" sldId="2147475675"/>
            <ac:spMk id="2" creationId="{830752A3-E5EB-5AA9-8EA5-4F0DA63DBBA3}"/>
          </ac:spMkLst>
        </pc:spChg>
        <pc:spChg chg="del">
          <ac:chgData name="Frode Singstad (NO)" userId="S::frode.singstad@pwc.com::6e7333a6-999f-49b0-9714-e1a4f457baf0" providerId="AD" clId="Web-{64EC7E78-BC0B-B63E-9F3B-2ECBF9089D35}" dt="2025-10-23T07:35:22.605" v="9"/>
          <ac:spMkLst>
            <pc:docMk/>
            <pc:sldMk cId="1694232763" sldId="2147475675"/>
            <ac:spMk id="4" creationId="{0E88AAEE-48FA-6EA5-C999-0940FF601DA9}"/>
          </ac:spMkLst>
        </pc:spChg>
        <pc:spChg chg="del">
          <ac:chgData name="Frode Singstad (NO)" userId="S::frode.singstad@pwc.com::6e7333a6-999f-49b0-9714-e1a4f457baf0" providerId="AD" clId="Web-{64EC7E78-BC0B-B63E-9F3B-2ECBF9089D35}" dt="2025-10-23T07:35:36.106" v="11"/>
          <ac:spMkLst>
            <pc:docMk/>
            <pc:sldMk cId="1694232763" sldId="2147475675"/>
            <ac:spMk id="5" creationId="{D7138929-CAF1-E54A-696A-1D2420DC7F15}"/>
          </ac:spMkLst>
        </pc:spChg>
        <pc:spChg chg="add del mod">
          <ac:chgData name="Frode Singstad (NO)" userId="S::frode.singstad@pwc.com::6e7333a6-999f-49b0-9714-e1a4f457baf0" providerId="AD" clId="Web-{64EC7E78-BC0B-B63E-9F3B-2ECBF9089D35}" dt="2025-10-23T07:35:42.247" v="13"/>
          <ac:spMkLst>
            <pc:docMk/>
            <pc:sldMk cId="1694232763" sldId="2147475675"/>
            <ac:spMk id="16" creationId="{2F19C6EF-F250-6433-BC53-06CD04662700}"/>
          </ac:spMkLst>
        </pc:spChg>
        <pc:graphicFrameChg chg="add del mod ord modGraphic">
          <ac:chgData name="Frode Singstad (NO)" userId="S::frode.singstad@pwc.com::6e7333a6-999f-49b0-9714-e1a4f457baf0" providerId="AD" clId="Web-{64EC7E78-BC0B-B63E-9F3B-2ECBF9089D35}" dt="2025-10-23T07:35:36.153" v="12"/>
          <ac:graphicFrameMkLst>
            <pc:docMk/>
            <pc:sldMk cId="1694232763" sldId="2147475675"/>
            <ac:graphicFrameMk id="8" creationId="{DB4E2919-99A0-4FF2-70F6-FEFA4E0712DB}"/>
          </ac:graphicFrameMkLst>
        </pc:graphicFrameChg>
        <pc:picChg chg="add mod modCrop">
          <ac:chgData name="Frode Singstad (NO)" userId="S::frode.singstad@pwc.com::6e7333a6-999f-49b0-9714-e1a4f457baf0" providerId="AD" clId="Web-{64EC7E78-BC0B-B63E-9F3B-2ECBF9089D35}" dt="2025-10-23T07:36:24.326" v="19"/>
          <ac:picMkLst>
            <pc:docMk/>
            <pc:sldMk cId="1694232763" sldId="2147475675"/>
            <ac:picMk id="18" creationId="{02B314A8-85BD-EEF1-1192-FA512BD37AEF}"/>
          </ac:picMkLst>
        </pc:picChg>
      </pc:sldChg>
    </pc:docChg>
  </pc:docChgLst>
  <pc:docChgLst>
    <pc:chgData name="Kjetil Birkeland Daatland (NO)" userId="96d068f4-6b67-4116-94eb-8af6907fd011" providerId="ADAL" clId="{EA603485-407A-4621-B484-AF743A8CCBB1}"/>
    <pc:docChg chg="modSld">
      <pc:chgData name="Kjetil Birkeland Daatland (NO)" userId="96d068f4-6b67-4116-94eb-8af6907fd011" providerId="ADAL" clId="{EA603485-407A-4621-B484-AF743A8CCBB1}" dt="2025-10-22T04:17:15.929" v="64" actId="20577"/>
      <pc:docMkLst>
        <pc:docMk/>
      </pc:docMkLst>
      <pc:sldChg chg="modSp mod">
        <pc:chgData name="Kjetil Birkeland Daatland (NO)" userId="96d068f4-6b67-4116-94eb-8af6907fd011" providerId="ADAL" clId="{EA603485-407A-4621-B484-AF743A8CCBB1}" dt="2025-10-22T04:15:48.800" v="63" actId="20577"/>
        <pc:sldMkLst>
          <pc:docMk/>
          <pc:sldMk cId="2052970285" sldId="2147471537"/>
        </pc:sldMkLst>
        <pc:spChg chg="mod">
          <ac:chgData name="Kjetil Birkeland Daatland (NO)" userId="96d068f4-6b67-4116-94eb-8af6907fd011" providerId="ADAL" clId="{EA603485-407A-4621-B484-AF743A8CCBB1}" dt="2025-10-22T04:15:48.800" v="63" actId="20577"/>
          <ac:spMkLst>
            <pc:docMk/>
            <pc:sldMk cId="2052970285" sldId="2147471537"/>
            <ac:spMk id="6" creationId="{248724AB-1BF3-A040-1664-FDA05542585C}"/>
          </ac:spMkLst>
        </pc:spChg>
      </pc:sldChg>
      <pc:sldChg chg="modSp mod">
        <pc:chgData name="Kjetil Birkeland Daatland (NO)" userId="96d068f4-6b67-4116-94eb-8af6907fd011" providerId="ADAL" clId="{EA603485-407A-4621-B484-AF743A8CCBB1}" dt="2025-10-22T04:17:15.929" v="64" actId="20577"/>
        <pc:sldMkLst>
          <pc:docMk/>
          <pc:sldMk cId="2568298915" sldId="2147475670"/>
        </pc:sldMkLst>
        <pc:spChg chg="mod">
          <ac:chgData name="Kjetil Birkeland Daatland (NO)" userId="96d068f4-6b67-4116-94eb-8af6907fd011" providerId="ADAL" clId="{EA603485-407A-4621-B484-AF743A8CCBB1}" dt="2025-10-22T04:17:15.929" v="64" actId="20577"/>
          <ac:spMkLst>
            <pc:docMk/>
            <pc:sldMk cId="2568298915" sldId="2147475670"/>
            <ac:spMk id="5" creationId="{F9CC4864-D8FC-EAC8-498C-D26A44619C77}"/>
          </ac:spMkLst>
        </pc:spChg>
      </pc:sldChg>
    </pc:docChg>
  </pc:docChgLst>
  <pc:docChgLst>
    <pc:chgData name="Frode Singstad (NO)" userId="S::frode.singstad@pwc.com::6e7333a6-999f-49b0-9714-e1a4f457baf0" providerId="AD" clId="Web-{1A32A70F-9399-6841-BAC6-94FBA84D2436}"/>
    <pc:docChg chg="modSld sldOrd">
      <pc:chgData name="Frode Singstad (NO)" userId="S::frode.singstad@pwc.com::6e7333a6-999f-49b0-9714-e1a4f457baf0" providerId="AD" clId="Web-{1A32A70F-9399-6841-BAC6-94FBA84D2436}" dt="2025-10-22T12:49:03.391" v="34" actId="20577"/>
      <pc:docMkLst>
        <pc:docMk/>
      </pc:docMkLst>
      <pc:sldChg chg="ord">
        <pc:chgData name="Frode Singstad (NO)" userId="S::frode.singstad@pwc.com::6e7333a6-999f-49b0-9714-e1a4f457baf0" providerId="AD" clId="Web-{1A32A70F-9399-6841-BAC6-94FBA84D2436}" dt="2025-10-22T12:46:54.374" v="17"/>
        <pc:sldMkLst>
          <pc:docMk/>
          <pc:sldMk cId="2947401411" sldId="2147475657"/>
        </pc:sldMkLst>
      </pc:sldChg>
      <pc:sldChg chg="modSp ord">
        <pc:chgData name="Frode Singstad (NO)" userId="S::frode.singstad@pwc.com::6e7333a6-999f-49b0-9714-e1a4f457baf0" providerId="AD" clId="Web-{1A32A70F-9399-6841-BAC6-94FBA84D2436}" dt="2025-10-22T12:49:03.391" v="34" actId="20577"/>
        <pc:sldMkLst>
          <pc:docMk/>
          <pc:sldMk cId="298055320" sldId="2147475673"/>
        </pc:sldMkLst>
        <pc:spChg chg="mod">
          <ac:chgData name="Frode Singstad (NO)" userId="S::frode.singstad@pwc.com::6e7333a6-999f-49b0-9714-e1a4f457baf0" providerId="AD" clId="Web-{1A32A70F-9399-6841-BAC6-94FBA84D2436}" dt="2025-10-22T12:49:03.391" v="34" actId="20577"/>
          <ac:spMkLst>
            <pc:docMk/>
            <pc:sldMk cId="298055320" sldId="2147475673"/>
            <ac:spMk id="2" creationId="{44568D5B-238F-F926-F39D-5FC218810A7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666-451F-AB74-1C49C5F430A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666-451F-AB74-1C49C5F430AD}"/>
              </c:ext>
            </c:extLst>
          </c:dPt>
          <c:cat>
            <c:strRef>
              <c:f>Sheet1!$C$3:$C$4</c:f>
              <c:strCache>
                <c:ptCount val="2"/>
                <c:pt idx="0">
                  <c:v>Ja</c:v>
                </c:pt>
                <c:pt idx="1">
                  <c:v>Nei</c:v>
                </c:pt>
              </c:strCache>
            </c:strRef>
          </c:cat>
          <c:val>
            <c:numRef>
              <c:f>Sheet1!$D$3:$D$4</c:f>
              <c:numCache>
                <c:formatCode>0%</c:formatCode>
                <c:ptCount val="2"/>
                <c:pt idx="0">
                  <c:v>0.83</c:v>
                </c:pt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66-451F-AB74-1C49C5F430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99568203888539"/>
          <c:y val="0.90974575187374718"/>
          <c:w val="0.16675249134081502"/>
          <c:h val="6.55828520198653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8869</cdr:x>
      <cdr:y>0.18966</cdr:y>
    </cdr:from>
    <cdr:to>
      <cdr:x>0.46118</cdr:x>
      <cdr:y>0.2698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5093E99-A2BA-7C43-8379-6F4227DAD10F}"/>
            </a:ext>
          </a:extLst>
        </cdr:cNvPr>
        <cdr:cNvSpPr txBox="1"/>
      </cdr:nvSpPr>
      <cdr:spPr>
        <a:xfrm xmlns:a="http://schemas.openxmlformats.org/drawingml/2006/main">
          <a:off x="1963290" y="585775"/>
          <a:ext cx="366118" cy="2476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noAutofit/>
        </a:bodyPr>
        <a:lstStyle xmlns:a="http://schemas.openxmlformats.org/drawingml/2006/main"/>
        <a:p xmlns:a="http://schemas.openxmlformats.org/drawingml/2006/main">
          <a:pPr algn="l"/>
          <a:r>
            <a:rPr lang="nb-NO" sz="1100" b="1" kern="1200" dirty="0">
              <a:solidFill>
                <a:schemeClr val="bg1"/>
              </a:solidFill>
              <a:latin typeface="+mj-lt"/>
            </a:rPr>
            <a:t>17%</a:t>
          </a:r>
        </a:p>
      </cdr:txBody>
    </cdr:sp>
  </cdr:relSizeAnchor>
  <cdr:relSizeAnchor xmlns:cdr="http://schemas.openxmlformats.org/drawingml/2006/chartDrawing">
    <cdr:from>
      <cdr:x>0.49191</cdr:x>
      <cdr:y>0.58952</cdr:y>
    </cdr:from>
    <cdr:to>
      <cdr:x>0.56439</cdr:x>
      <cdr:y>0.6697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65C2B4B3-35AC-CCDD-FD94-BAE9E583D2B4}"/>
            </a:ext>
          </a:extLst>
        </cdr:cNvPr>
        <cdr:cNvSpPr txBox="1"/>
      </cdr:nvSpPr>
      <cdr:spPr>
        <a:xfrm xmlns:a="http://schemas.openxmlformats.org/drawingml/2006/main">
          <a:off x="2484636" y="1820798"/>
          <a:ext cx="366118" cy="2476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nb-NO" sz="1100" b="1" kern="1200" dirty="0">
              <a:solidFill>
                <a:schemeClr val="bg1"/>
              </a:solidFill>
              <a:latin typeface="+mj-lt"/>
            </a:rPr>
            <a:t>83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FBEB4EF7-6755-4417-96B3-8A9D9B3986FB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8338F507-FFAD-4585-99E0-9DC17883AD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394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8F507-FFAD-4585-99E0-9DC17883AD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5544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I </a:t>
            </a:r>
            <a:r>
              <a:rPr lang="en-US" err="1">
                <a:latin typeface="Calibri"/>
                <a:ea typeface="Calibri"/>
                <a:cs typeface="Calibri"/>
              </a:rPr>
              <a:t>Trøndelag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  <a:r>
              <a:rPr lang="en-US" err="1">
                <a:latin typeface="Calibri"/>
                <a:ea typeface="Calibri"/>
                <a:cs typeface="Calibri"/>
              </a:rPr>
              <a:t>oppgir</a:t>
            </a:r>
            <a:r>
              <a:rPr lang="en-US">
                <a:latin typeface="Calibri"/>
                <a:ea typeface="Calibri"/>
                <a:cs typeface="Calibri"/>
              </a:rPr>
              <a:t> 44% av </a:t>
            </a:r>
            <a:r>
              <a:rPr lang="en-US" err="1">
                <a:latin typeface="Calibri"/>
                <a:ea typeface="Calibri"/>
                <a:cs typeface="Calibri"/>
              </a:rPr>
              <a:t>kommunene</a:t>
            </a:r>
            <a:r>
              <a:rPr lang="en-US">
                <a:latin typeface="Calibri"/>
                <a:ea typeface="Calibri"/>
                <a:cs typeface="Calibri"/>
              </a:rPr>
              <a:t> å IKKE ha </a:t>
            </a:r>
            <a:r>
              <a:rPr lang="en-US" err="1">
                <a:latin typeface="Calibri"/>
                <a:ea typeface="Calibri"/>
                <a:cs typeface="Calibri"/>
              </a:rPr>
              <a:t>samarbeid</a:t>
            </a:r>
            <a:r>
              <a:rPr lang="en-US">
                <a:latin typeface="Calibri"/>
                <a:ea typeface="Calibri"/>
                <a:cs typeface="Calibri"/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8F507-FFAD-4585-99E0-9DC17883AD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762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8F507-FFAD-4585-99E0-9DC17883AD4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220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8C4C564F-54DF-8C5F-8208-487AC945D740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9" y="1715"/>
            <a:ext cx="12188951" cy="6856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EF2F32-23D2-85EF-3071-5C6939DCE4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1904" y="1963495"/>
            <a:ext cx="5664555" cy="18288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1400"/>
              </a:spcBef>
              <a:defRPr sz="4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8AB6ED3-C5F6-877C-DAED-BEF7F30459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1903" y="6054487"/>
            <a:ext cx="4684447" cy="45322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None/>
              <a:defRPr sz="1400" b="0"/>
            </a:lvl1pPr>
            <a:lvl2pPr marL="0" indent="0" algn="l">
              <a:lnSpc>
                <a:spcPct val="100000"/>
              </a:lnSpc>
              <a:spcBef>
                <a:spcPts val="100"/>
              </a:spcBef>
              <a:buNone/>
              <a:defRPr sz="1400" b="1">
                <a:latin typeface="+mn-lt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B11A3AB-4A69-E082-016E-71E3453713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3391" y="383381"/>
            <a:ext cx="1064007" cy="517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18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50A2C7B7-9D29-E058-E1D5-11CACA152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8951" cy="6858001"/>
          </a:xfrm>
          <a:solidFill>
            <a:schemeClr val="bg1">
              <a:lumMod val="85000"/>
            </a:schemeClr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539E65-4ABC-F7FC-FCE0-B29255497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30" y="3372236"/>
            <a:ext cx="5641183" cy="1414180"/>
          </a:xfrm>
        </p:spPr>
        <p:txBody>
          <a:bodyPr anchor="b"/>
          <a:lstStyle>
            <a:lvl1pPr>
              <a:lnSpc>
                <a:spcPct val="80000"/>
              </a:lnSpc>
              <a:spcBef>
                <a:spcPts val="1400"/>
              </a:spcBef>
              <a:defRPr sz="4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BDD4AC-270A-4483-7315-655B46AA98C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193823" y="576072"/>
            <a:ext cx="3462095" cy="4308872"/>
          </a:xfrm>
        </p:spPr>
        <p:txBody>
          <a:bodyPr wrap="square">
            <a:spAutoFit/>
          </a:bodyPr>
          <a:lstStyle>
            <a:lvl1pPr marL="0" indent="0" algn="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F9F556-4510-F7DD-B333-C401D75BD7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2432" y="5029715"/>
            <a:ext cx="5641182" cy="990083"/>
          </a:xfrm>
        </p:spPr>
        <p:txBody>
          <a:bodyPr/>
          <a:lstStyle>
            <a:lvl1pPr>
              <a:defRPr sz="13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FBC73D5-BBD4-6DEA-ABD4-C7C99DE36B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728" y="6501384"/>
            <a:ext cx="365760" cy="161583"/>
          </a:xfrm>
        </p:spPr>
        <p:txBody>
          <a:bodyPr>
            <a:noAutofit/>
          </a:bodyPr>
          <a:lstStyle>
            <a:lvl1pPr>
              <a:defRPr sz="1050"/>
            </a:lvl1pPr>
          </a:lstStyle>
          <a:p>
            <a:pPr lvl="0"/>
            <a:r>
              <a:rPr lang="en-US"/>
              <a:t>PwC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14AAF1B-63A7-87FB-CF3E-274298F4B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06EDDF0F-F4F8-2669-FD63-410B84DD2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638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239A05D4-BAD9-49A7-3229-41686BA7F4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7531331" cy="6858000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E03C5ED-E0DF-61C8-7A95-440C9FF7F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77199" y="919162"/>
            <a:ext cx="3712881" cy="1938337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18CD4E-B949-EF88-4945-7E36C00157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77199" y="2971800"/>
            <a:ext cx="3724275" cy="2967038"/>
          </a:xfrm>
        </p:spPr>
        <p:txBody>
          <a:bodyPr/>
          <a:lstStyle>
            <a:lvl1pPr>
              <a:lnSpc>
                <a:spcPct val="125000"/>
              </a:lnSpc>
              <a:defRPr sz="1600" b="0">
                <a:latin typeface="+mj-lt"/>
              </a:defRPr>
            </a:lvl1pPr>
            <a:lvl2pPr marL="166688" indent="0">
              <a:defRPr/>
            </a:lvl2pPr>
            <a:lvl3pPr marL="346075" indent="0">
              <a:buNone/>
              <a:defRPr/>
            </a:lvl3pPr>
            <a:lvl4pPr marL="512763" indent="0">
              <a:buNone/>
              <a:defRPr/>
            </a:lvl4pPr>
            <a:lvl5pPr marL="69215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D55F7-3664-B826-100E-876C20C01969}"/>
              </a:ext>
            </a:extLst>
          </p:cNvPr>
          <p:cNvSpPr txBox="1"/>
          <p:nvPr userDrawn="1"/>
        </p:nvSpPr>
        <p:spPr>
          <a:xfrm>
            <a:off x="7630559" y="6501384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50" b="1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4885F81-E071-1548-5442-718A5D278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7199" y="6501384"/>
            <a:ext cx="3200400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2" name="Slide Number Placeholder 13">
            <a:extLst>
              <a:ext uri="{FF2B5EF4-FFF2-40B4-BE49-F238E27FC236}">
                <a16:creationId xmlns:a16="http://schemas.microsoft.com/office/drawing/2014/main" id="{3BE7552A-3D06-4BDA-8BCC-BB2CCD97B4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282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239A05D4-BAD9-49A7-3229-41686BA7F4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6620719" cy="6858000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E03C5ED-E0DF-61C8-7A95-440C9FF7F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8351" y="919162"/>
            <a:ext cx="4671730" cy="1938337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3BCDA1-5DA8-C359-F2B1-BC10C8036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8351" y="2971800"/>
            <a:ext cx="4671729" cy="2967038"/>
          </a:xfrm>
        </p:spPr>
        <p:txBody>
          <a:bodyPr/>
          <a:lstStyle>
            <a:lvl1pPr marL="166688" indent="-166688">
              <a:lnSpc>
                <a:spcPct val="125000"/>
              </a:lnSpc>
              <a:buFont typeface="Arial" panose="020B0604020202020204" pitchFamily="34" charset="0"/>
              <a:buChar char="•"/>
              <a:defRPr sz="1600" b="0">
                <a:latin typeface="+mj-lt"/>
              </a:defRPr>
            </a:lvl1pPr>
            <a:lvl2pPr marL="346075" indent="-179388">
              <a:buFont typeface="Georgia" panose="02040502050405020303" pitchFamily="18" charset="0"/>
              <a:buChar char="–"/>
              <a:defRPr/>
            </a:lvl2pPr>
            <a:lvl3pPr marL="512763" indent="-166688">
              <a:defRPr/>
            </a:lvl3pPr>
            <a:lvl4pPr marL="692150" indent="-179388">
              <a:defRPr/>
            </a:lvl4pPr>
            <a:lvl5pPr marL="858838" indent="-1666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D55F7-3664-B826-100E-876C20C01969}"/>
              </a:ext>
            </a:extLst>
          </p:cNvPr>
          <p:cNvSpPr txBox="1"/>
          <p:nvPr userDrawn="1"/>
        </p:nvSpPr>
        <p:spPr>
          <a:xfrm>
            <a:off x="7118351" y="6501384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50" b="1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4885F81-E071-1548-5442-718A5D278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69600" y="6501384"/>
            <a:ext cx="3657600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2" name="Slide Number Placeholder 13">
            <a:extLst>
              <a:ext uri="{FF2B5EF4-FFF2-40B4-BE49-F238E27FC236}">
                <a16:creationId xmlns:a16="http://schemas.microsoft.com/office/drawing/2014/main" id="{3BE7552A-3D06-4BDA-8BCC-BB2CCD97B4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657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239A05D4-BAD9-49A7-3229-41686BA7F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" y="0"/>
            <a:ext cx="5648448" cy="6858000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E03C5ED-E0DF-61C8-7A95-440C9FF7F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488" y="400051"/>
            <a:ext cx="5632168" cy="917574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3BCDA1-5DA8-C359-F2B1-BC10C8036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9488" y="1946275"/>
            <a:ext cx="5632167" cy="3992563"/>
          </a:xfrm>
        </p:spPr>
        <p:txBody>
          <a:bodyPr/>
          <a:lstStyle>
            <a:lvl1pPr marL="166688" indent="-166688">
              <a:lnSpc>
                <a:spcPct val="125000"/>
              </a:lnSpc>
              <a:buFont typeface="Arial" panose="020B0604020202020204" pitchFamily="34" charset="0"/>
              <a:buChar char="•"/>
              <a:defRPr sz="1600" b="0">
                <a:latin typeface="+mj-lt"/>
              </a:defRPr>
            </a:lvl1pPr>
            <a:lvl2pPr marL="346075" indent="-179388">
              <a:buFont typeface="Georgia" panose="02040502050405020303" pitchFamily="18" charset="0"/>
              <a:buChar char="–"/>
              <a:defRPr/>
            </a:lvl2pPr>
            <a:lvl3pPr marL="512763" indent="-166688">
              <a:defRPr/>
            </a:lvl3pPr>
            <a:lvl4pPr marL="692150" indent="-179388">
              <a:defRPr/>
            </a:lvl4pPr>
            <a:lvl5pPr marL="858838" indent="-1666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D55F7-3664-B826-100E-876C20C01969}"/>
              </a:ext>
            </a:extLst>
          </p:cNvPr>
          <p:cNvSpPr txBox="1"/>
          <p:nvPr userDrawn="1"/>
        </p:nvSpPr>
        <p:spPr>
          <a:xfrm>
            <a:off x="6157913" y="6501384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50" b="1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4885F81-E071-1548-5442-718A5D278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0116" y="6501384"/>
            <a:ext cx="4663440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2" name="Slide Number Placeholder 13">
            <a:extLst>
              <a:ext uri="{FF2B5EF4-FFF2-40B4-BE49-F238E27FC236}">
                <a16:creationId xmlns:a16="http://schemas.microsoft.com/office/drawing/2014/main" id="{3BE7552A-3D06-4BDA-8BCC-BB2CCD97B4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267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239A05D4-BAD9-49A7-3229-41686BA7F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" y="0"/>
            <a:ext cx="4676174" cy="6858000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E03C5ED-E0DF-61C8-7A95-440C9FF7F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9063" y="400051"/>
            <a:ext cx="6602593" cy="917574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3BCDA1-5DA8-C359-F2B1-BC10C8036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064" y="1946275"/>
            <a:ext cx="6602592" cy="3992563"/>
          </a:xfrm>
        </p:spPr>
        <p:txBody>
          <a:bodyPr/>
          <a:lstStyle>
            <a:lvl1pPr marL="166688" indent="-166688">
              <a:lnSpc>
                <a:spcPct val="125000"/>
              </a:lnSpc>
              <a:buFont typeface="Arial" panose="020B0604020202020204" pitchFamily="34" charset="0"/>
              <a:buChar char="•"/>
              <a:defRPr sz="1600" b="0">
                <a:latin typeface="+mj-lt"/>
              </a:defRPr>
            </a:lvl1pPr>
            <a:lvl2pPr marL="346075" indent="-179388">
              <a:buFont typeface="Georgia" panose="02040502050405020303" pitchFamily="18" charset="0"/>
              <a:buChar char="–"/>
              <a:defRPr/>
            </a:lvl2pPr>
            <a:lvl3pPr marL="512763" indent="-166688">
              <a:defRPr/>
            </a:lvl3pPr>
            <a:lvl4pPr marL="692150" indent="-179388">
              <a:defRPr/>
            </a:lvl4pPr>
            <a:lvl5pPr marL="858838" indent="-1666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D55F7-3664-B826-100E-876C20C01969}"/>
              </a:ext>
            </a:extLst>
          </p:cNvPr>
          <p:cNvSpPr txBox="1"/>
          <p:nvPr userDrawn="1"/>
        </p:nvSpPr>
        <p:spPr>
          <a:xfrm>
            <a:off x="6157913" y="6497441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50" b="1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4885F81-E071-1548-5442-718A5D278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0116" y="6497441"/>
            <a:ext cx="4663440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2" name="Slide Number Placeholder 13">
            <a:extLst>
              <a:ext uri="{FF2B5EF4-FFF2-40B4-BE49-F238E27FC236}">
                <a16:creationId xmlns:a16="http://schemas.microsoft.com/office/drawing/2014/main" id="{3BE7552A-3D06-4BDA-8BCC-BB2CCD97B4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257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E03C5ED-E0DF-61C8-7A95-440C9FF7F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920" y="400051"/>
            <a:ext cx="4274253" cy="142875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239A05D4-BAD9-49A7-3229-41686BA7F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1920" y="1956003"/>
            <a:ext cx="4274253" cy="3982835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3BCDA1-5DA8-C359-F2B1-BC10C8036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063" y="400051"/>
            <a:ext cx="6591017" cy="5538787"/>
          </a:xfrm>
        </p:spPr>
        <p:txBody>
          <a:bodyPr/>
          <a:lstStyle>
            <a:lvl1pPr marL="166688" indent="-166688">
              <a:lnSpc>
                <a:spcPct val="125000"/>
              </a:lnSpc>
              <a:buFont typeface="Arial" panose="020B0604020202020204" pitchFamily="34" charset="0"/>
              <a:buChar char="•"/>
              <a:defRPr sz="1600" b="0">
                <a:latin typeface="+mj-lt"/>
              </a:defRPr>
            </a:lvl1pPr>
            <a:lvl2pPr marL="346075" indent="-179388">
              <a:buFont typeface="Georgia" panose="02040502050405020303" pitchFamily="18" charset="0"/>
              <a:buChar char="–"/>
              <a:defRPr/>
            </a:lvl2pPr>
            <a:lvl3pPr marL="512763" indent="-166688">
              <a:defRPr/>
            </a:lvl3pPr>
            <a:lvl4pPr marL="692150" indent="-179388">
              <a:defRPr/>
            </a:lvl4pPr>
            <a:lvl5pPr marL="858838" indent="-1666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8019E0-279D-A4EC-36F3-E0B1A717FC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B8872EE6-00EE-7E3B-FF0A-4031AD0A1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211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36A14-ADD8-5266-1DE1-0BDFE2DFE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052" y="2699173"/>
            <a:ext cx="4182718" cy="2492990"/>
          </a:xfrm>
        </p:spPr>
        <p:txBody>
          <a:bodyPr wrap="square" anchor="b" anchorCtr="0">
            <a:spAutoFit/>
          </a:bodyPr>
          <a:lstStyle>
            <a:lvl1pPr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73A66C0-F670-A68E-E8AB-864BA888682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209696" y="794063"/>
            <a:ext cx="6589884" cy="3328416"/>
          </a:xfrm>
        </p:spPr>
        <p:txBody>
          <a:bodyPr tIns="457200"/>
          <a:lstStyle>
            <a:lvl1pPr algn="ctr">
              <a:defRPr sz="18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5C0038A-3A68-0DB9-64FC-6F889D75D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97BC8435-1364-314D-C920-74E9DEDB1E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185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rgbClr val="FFE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36A14-ADD8-5266-1DE1-0BDFE2DFE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052" y="2697480"/>
            <a:ext cx="4182718" cy="2492990"/>
          </a:xfrm>
        </p:spPr>
        <p:txBody>
          <a:bodyPr wrap="square" anchor="b" anchorCtr="0">
            <a:spAutoFit/>
          </a:bodyPr>
          <a:lstStyle>
            <a:lvl1pPr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9DEE-6989-9A74-BDE8-CA73B91086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6DE5500C-FE6E-579B-63C3-09F6ADCF9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D78BEAF-F2F8-DC26-B864-8F81821380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09696" y="786384"/>
            <a:ext cx="5754687" cy="3195638"/>
          </a:xfrm>
        </p:spPr>
        <p:txBody>
          <a:bodyPr tIns="73152"/>
          <a:lstStyle>
            <a:lvl1pPr marL="647700" indent="-55245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/>
              <a:defRPr sz="2800" b="0">
                <a:latin typeface="+mj-lt"/>
              </a:defRPr>
            </a:lvl1pPr>
            <a:lvl2pPr marL="690563" indent="-5730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8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684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36A14-ADD8-5266-1DE1-0BDFE2DFE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052" y="2697480"/>
            <a:ext cx="4182718" cy="2492990"/>
          </a:xfrm>
        </p:spPr>
        <p:txBody>
          <a:bodyPr wrap="square" anchor="b" anchorCtr="0">
            <a:spAutoFit/>
          </a:bodyPr>
          <a:lstStyle>
            <a:lvl1pPr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73A66C0-F670-A68E-E8AB-864BA888682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177701" y="818982"/>
            <a:ext cx="4324869" cy="2685354"/>
          </a:xfrm>
        </p:spPr>
        <p:txBody>
          <a:bodyPr tIns="457200"/>
          <a:lstStyle>
            <a:lvl1pPr algn="ctr">
              <a:defRPr sz="18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Table Placeholder 6">
            <a:extLst>
              <a:ext uri="{FF2B5EF4-FFF2-40B4-BE49-F238E27FC236}">
                <a16:creationId xmlns:a16="http://schemas.microsoft.com/office/drawing/2014/main" id="{CE0852A2-F289-0299-38DA-54988A9CF403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711065" y="818982"/>
            <a:ext cx="4324869" cy="2685354"/>
          </a:xfrm>
        </p:spPr>
        <p:txBody>
          <a:bodyPr tIns="457200"/>
          <a:lstStyle>
            <a:lvl1pPr algn="ctr">
              <a:defRPr sz="18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D3D9662-5F2D-57D9-7407-78275144A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417BEBC1-805D-DD3E-7FB7-E733D35B8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65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4">
    <p:bg>
      <p:bgPr>
        <a:solidFill>
          <a:srgbClr val="FFE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36A14-ADD8-5266-1DE1-0BDFE2DFE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052" y="2697480"/>
            <a:ext cx="4182718" cy="2492990"/>
          </a:xfrm>
        </p:spPr>
        <p:txBody>
          <a:bodyPr wrap="square" anchor="b" anchorCtr="0">
            <a:spAutoFit/>
          </a:bodyPr>
          <a:lstStyle>
            <a:lvl1pPr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EEDD237-2AD5-3154-E113-01E98DC098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C3079065-EEA7-BD3F-374F-2BD4FA174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EB10B1-191A-630B-CAE5-F7CB250CA4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81363" y="917575"/>
            <a:ext cx="4224722" cy="2589534"/>
          </a:xfrm>
        </p:spPr>
        <p:txBody>
          <a:bodyPr lIns="91440"/>
          <a:lstStyle>
            <a:lvl1pPr marL="292608" indent="-573088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tabLst/>
              <a:defRPr sz="1800" b="0">
                <a:latin typeface="+mj-lt"/>
              </a:defRPr>
            </a:lvl1pPr>
            <a:lvl2pPr marL="690563" indent="-5730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8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735FB7-5411-F2F1-D974-F773B1B836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08392" y="917575"/>
            <a:ext cx="4224722" cy="2589534"/>
          </a:xfrm>
        </p:spPr>
        <p:txBody>
          <a:bodyPr lIns="91440"/>
          <a:lstStyle>
            <a:lvl1pPr marL="393192" indent="-676656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tabLst>
                <a:tab pos="225425" algn="r"/>
              </a:tabLst>
              <a:defRPr sz="1800" b="0">
                <a:latin typeface="+mj-lt"/>
              </a:defRPr>
            </a:lvl1pPr>
            <a:lvl2pPr marL="690563" indent="-57308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28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251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0745CB-2FF7-A852-6865-A8F426EE12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over image</a:t>
            </a: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F2F32-23D2-85EF-3071-5C6939DCE4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1904" y="1963495"/>
            <a:ext cx="5664555" cy="1828800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1400"/>
              </a:spcBef>
              <a:defRPr sz="4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8AB6ED3-C5F6-877C-DAED-BEF7F30459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1903" y="6054487"/>
            <a:ext cx="4684447" cy="45322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None/>
              <a:defRPr sz="1400" b="0"/>
            </a:lvl1pPr>
            <a:lvl2pPr marL="0" indent="0" algn="l">
              <a:lnSpc>
                <a:spcPct val="100000"/>
              </a:lnSpc>
              <a:spcBef>
                <a:spcPts val="100"/>
              </a:spcBef>
              <a:buNone/>
              <a:defRPr sz="1400" b="1">
                <a:latin typeface="+mn-lt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B11A3AB-4A69-E082-016E-71E3453713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391" y="383381"/>
            <a:ext cx="1064007" cy="517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426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0FCB0834-B748-0F65-C02A-23EC83C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6606383" cy="12953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665" y="1946276"/>
            <a:ext cx="6606383" cy="4000502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C6EFB28-C390-D7A6-7D24-D312EAB54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B0DF1CAE-AD0F-3704-E516-EFF052A288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18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161467A-7063-86D7-24E8-072DC8FE5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1403809" cy="9461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861B7B6-46DE-D3F1-62FD-E7B058FA4F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905" y="1946276"/>
            <a:ext cx="4673445" cy="3992562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2546D2-619E-D256-A62A-62019DAA477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66005" y="1946276"/>
            <a:ext cx="4673445" cy="3992562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B51044C-932D-8FC3-B3AB-1F32819D3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A24DD9E3-0BCC-FF96-2B5A-1C600C721A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702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161467A-7063-86D7-24E8-072DC8FE5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8" y="3492184"/>
            <a:ext cx="3840957" cy="24545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CA843832-4448-8151-AB96-D139EF4338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01444" y="402432"/>
            <a:ext cx="3649948" cy="4510882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FFD3C8C-DE95-11CF-E112-F1CDEBBBAF2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9037638" y="371478"/>
            <a:ext cx="2514282" cy="2486022"/>
          </a:xfrm>
        </p:spPr>
        <p:txBody>
          <a:bodyPr/>
          <a:lstStyle>
            <a:lvl1pPr>
              <a:spcAft>
                <a:spcPts val="1200"/>
              </a:spcAft>
              <a:defRPr lang="en-US" sz="15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DF56AB70-B001-F407-DDA0-8274B0815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BB0E27A5-BC84-EBC4-82C5-E8CF838E43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00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161467A-7063-86D7-24E8-072DC8FE5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3840958" cy="55668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CA843832-4448-8151-AB96-D139EF4338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01444" y="402432"/>
            <a:ext cx="3649948" cy="2455068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2546D2-619E-D256-A62A-62019DAA477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9037637" y="371478"/>
            <a:ext cx="2514283" cy="2486022"/>
          </a:xfrm>
        </p:spPr>
        <p:txBody>
          <a:bodyPr/>
          <a:lstStyle>
            <a:lvl1pPr>
              <a:spcAft>
                <a:spcPts val="1200"/>
              </a:spcAft>
              <a:defRPr lang="en-US" sz="15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51EE832E-3DC6-D6FD-08F2-B144435DFC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01444" y="2977040"/>
            <a:ext cx="3649948" cy="2455068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F6631A4-F894-4AFF-B75F-0AABD9BAEA0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037637" y="2977040"/>
            <a:ext cx="2514283" cy="2486022"/>
          </a:xfrm>
        </p:spPr>
        <p:txBody>
          <a:bodyPr/>
          <a:lstStyle>
            <a:lvl1pPr>
              <a:spcAft>
                <a:spcPts val="1200"/>
              </a:spcAft>
              <a:defRPr lang="en-US" sz="15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0C2534F-0DED-9179-1BA0-BA7BBA63E4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C21211E5-4A9D-2EA5-349A-BFEBB51D88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448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Four Images Matri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F9B4C70A-448E-FF82-4DED-5DB3D9F57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CA843832-4448-8151-AB96-D139EF4338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831" y="1431438"/>
            <a:ext cx="2657075" cy="1938825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2546D2-619E-D256-A62A-62019DAA477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81363" y="1421451"/>
            <a:ext cx="2514283" cy="19388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1500" b="1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51EE832E-3DC6-D6FD-08F2-B144435DFC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2831" y="3486944"/>
            <a:ext cx="2657075" cy="1938825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F6631A4-F894-4AFF-B75F-0AABD9BAEA0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81363" y="3486944"/>
            <a:ext cx="2514283" cy="1938812"/>
          </a:xfrm>
        </p:spPr>
        <p:txBody>
          <a:bodyPr/>
          <a:lstStyle>
            <a:lvl1pPr>
              <a:spcAft>
                <a:spcPts val="1200"/>
              </a:spcAft>
              <a:def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BF7E05F9-3B71-A92F-C27D-3EA7295545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60294" y="1431438"/>
            <a:ext cx="2657075" cy="1938825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DEC8E4-3556-9DFF-F8E0-3E599203F39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37638" y="1421451"/>
            <a:ext cx="2514283" cy="1938812"/>
          </a:xfrm>
        </p:spPr>
        <p:txBody>
          <a:bodyPr/>
          <a:lstStyle>
            <a:lvl1pPr>
              <a:spcAft>
                <a:spcPts val="1200"/>
              </a:spcAft>
              <a:def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5436620D-30A8-EA32-EBA9-0FB0D98A3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60294" y="3486944"/>
            <a:ext cx="2657075" cy="1938825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8EEADAB-1623-2FF8-2487-6AA4F7EC358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9037638" y="3486944"/>
            <a:ext cx="2514283" cy="1938812"/>
          </a:xfrm>
        </p:spPr>
        <p:txBody>
          <a:bodyPr/>
          <a:lstStyle>
            <a:lvl1pPr>
              <a:spcAft>
                <a:spcPts val="1200"/>
              </a:spcAft>
              <a:def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1E3B5C0-2252-2AC3-B6AC-A233A36FB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3634351F-B70F-FAD9-F7BB-519E4552F5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4677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81D6954-23FD-DBC4-8238-AE64FBE57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1946275"/>
            <a:ext cx="3280410" cy="3992563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1946275"/>
            <a:ext cx="3280410" cy="3992563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1946275"/>
            <a:ext cx="3280410" cy="3992563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B190286-B276-0735-9C4A-0DC61C6219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DB73B279-0425-58C9-A443-09B373446F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839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9EA8B36-F386-C764-DAD6-33D7736D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1946275"/>
            <a:ext cx="3280410" cy="39925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defRPr sz="2000" b="1">
                <a:latin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1946275"/>
            <a:ext cx="3280410" cy="3992563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1946275"/>
            <a:ext cx="3280410" cy="3992563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E946374-FA30-CA90-8DA8-4D3D9C8D9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B7BD091D-1A71-D98C-9FBE-055914E89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3709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81D6954-23FD-DBC4-8238-AE64FBE57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73FDB890-3693-B329-5A7C-C65A3B124F7E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10808" y="1439508"/>
            <a:ext cx="5237163" cy="4510088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68671" y="2468208"/>
            <a:ext cx="2754667" cy="3481388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9048041" y="2468208"/>
            <a:ext cx="2754667" cy="3481388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9626A07-2517-5726-4FDD-0AC9D92990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06046AFA-0660-1D2A-C174-4EABDBEAAA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83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81D6954-23FD-DBC4-8238-AE64FBE57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D560317-BC9E-E5E9-EC4B-BE83B3CA155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07670" y="1949410"/>
            <a:ext cx="3280410" cy="1535153"/>
          </a:xfrm>
        </p:spPr>
        <p:txBody>
          <a:bodyPr wrap="square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3614568"/>
            <a:ext cx="3280410" cy="2270480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800" b="1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1957033"/>
            <a:ext cx="3280410" cy="3992563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1957033"/>
            <a:ext cx="3280410" cy="3992563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955500F-3808-9CA2-1F44-A641645714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E6F2E23D-BB9F-B34F-EC85-66F73AA73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577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and Four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81D6954-23FD-DBC4-8238-AE64FBE57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D560317-BC9E-E5E9-EC4B-BE83B3CA155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07670" y="1949410"/>
            <a:ext cx="3280410" cy="1535153"/>
          </a:xfrm>
        </p:spPr>
        <p:txBody>
          <a:bodyPr wrap="square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3614568"/>
            <a:ext cx="3280410" cy="227048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800" b="1">
                <a:latin typeface="+mn-lt"/>
              </a:defRPr>
            </a:lvl1pPr>
            <a:lvl2pPr>
              <a:spcBef>
                <a:spcPts val="600"/>
              </a:spcBef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1957034"/>
            <a:ext cx="3280410" cy="1527529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defRPr sz="4500">
                <a:latin typeface="+mn-lt"/>
              </a:defRPr>
            </a:lvl2pPr>
            <a:lvl3pPr marL="0" indent="0">
              <a:spcBef>
                <a:spcPts val="100"/>
              </a:spcBef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48E7DA0-330F-0EFA-F5EA-9B8D8ADDB8B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87958" y="1957034"/>
            <a:ext cx="3280410" cy="1527529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defRPr sz="4500">
                <a:latin typeface="+mn-lt"/>
              </a:defRPr>
            </a:lvl2pPr>
            <a:lvl3pPr marL="0" indent="0">
              <a:spcBef>
                <a:spcPts val="100"/>
              </a:spcBef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F934F8D-EEE5-A5C7-4F51-62B220EA007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42435" y="3727982"/>
            <a:ext cx="3280410" cy="152752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4500" b="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 marL="0" indent="0">
              <a:spcBef>
                <a:spcPts val="100"/>
              </a:spcBef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6F4A050-73C7-4EF8-22E1-17E2117180F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087958" y="3727982"/>
            <a:ext cx="3280410" cy="152752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4500" b="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 marL="0" indent="0">
              <a:spcBef>
                <a:spcPts val="100"/>
              </a:spcBef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279AEC2-3D38-AA3C-D9ED-F56066F02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1F2E443D-FB19-EC91-F034-92383A4D9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852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E03C5ED-E0DF-61C8-7A95-440C9FF7F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619" y="4007973"/>
            <a:ext cx="4671732" cy="1298448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18CD4E-B949-EF88-4945-7E36C00157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0294" y="402655"/>
            <a:ext cx="5641181" cy="3521964"/>
          </a:xfrm>
        </p:spPr>
        <p:txBody>
          <a:bodyPr/>
          <a:lstStyle>
            <a:lvl1pPr>
              <a:lnSpc>
                <a:spcPct val="125000"/>
              </a:lnSpc>
              <a:defRPr sz="1500" b="1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5979435-2CA0-F566-8195-3E80CC2D6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3A2C4AA3-8599-3431-5E25-2E68E7DB9F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962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CDDF52B-DBF3-6EA5-316F-86B168D5B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1440338"/>
            <a:ext cx="3448050" cy="4498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defRPr sz="2000" b="1">
                <a:latin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1440338"/>
            <a:ext cx="3280410" cy="1929924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D986D8FF-CF64-064A-9F64-6F1DDA4C9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42435" y="3689588"/>
            <a:ext cx="3621405" cy="2257189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1440339"/>
            <a:ext cx="3280410" cy="1929924"/>
          </a:xfrm>
        </p:spPr>
        <p:txBody>
          <a:bodyPr tIns="18288"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A4F26F45-080E-2E94-7AE8-D48A53D6BB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84820" y="3689588"/>
            <a:ext cx="3621405" cy="2257189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67D3849-C8CD-8658-1466-0AC905A329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45FB2FC1-37EA-E80B-8E2C-5BB79F82C5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597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2157443-656C-E355-D086-838984BEE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08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C4FF4641-ED6B-EA6B-E1D6-5913E5D1C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050" y="1434783"/>
            <a:ext cx="3621405" cy="2449830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4008120"/>
            <a:ext cx="3280410" cy="1930718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38BD24F-B7A9-6A5E-4B91-293E35C962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7197" y="1434783"/>
            <a:ext cx="3621405" cy="2449830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4008120"/>
            <a:ext cx="3280410" cy="1930718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3EA62964-C972-788F-A145-641910913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84820" y="1434783"/>
            <a:ext cx="3621405" cy="2449830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4008120"/>
            <a:ext cx="3280410" cy="1930718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6D39F23-E441-3514-2A4F-F9CCA2911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FE222EB9-6543-2E06-6048-C32D6D58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850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TItle Two Images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32898A4C-932E-23E9-DC30-A54F1747D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02723"/>
            <a:ext cx="3389473" cy="19299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D986D8FF-CF64-064A-9F64-6F1DDA4C9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42435" y="410052"/>
            <a:ext cx="3621405" cy="3474561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4007380"/>
            <a:ext cx="3280410" cy="1939925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A4F26F45-080E-2E94-7AE8-D48A53D6BB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84820" y="410052"/>
            <a:ext cx="3621405" cy="3474561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4007380"/>
            <a:ext cx="3280410" cy="1939925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BD5BA45-6FFD-0692-0F0F-E110F28E68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6A0EF6EA-3F57-5496-E0F3-4864ED1104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450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663492E0-8524-F0F0-654F-078445BB7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669" y="1946275"/>
            <a:ext cx="2757805" cy="4035425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5DA3B61-E81A-0B10-D611-AF1F185E4D0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89821" y="1946275"/>
            <a:ext cx="2752324" cy="4035425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BF0C713-EACB-22E0-3AE1-304A75F202F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66511" y="1946275"/>
            <a:ext cx="2749927" cy="4035425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2AF188-3D2C-76B0-48DA-0C564B17792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9048456" y="1946275"/>
            <a:ext cx="2749927" cy="4035425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4BACFA0-1865-CA7A-660A-9F840AA5ED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BCCFAC37-C331-299A-576E-FB4D9E873F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828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81D6954-23FD-DBC4-8238-AE64FBE57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3484563"/>
            <a:ext cx="3280410" cy="2454275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3484563"/>
            <a:ext cx="3280410" cy="2454275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3484563"/>
            <a:ext cx="3280410" cy="2454275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DAB432F-854F-42B3-F530-13E74D7AAA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3B9F6906-FD55-4ECF-BC68-21EDA9D47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14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Inf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663492E0-8524-F0F0-654F-078445BB7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617" y="3484563"/>
            <a:ext cx="2757805" cy="2497137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5DA3B61-E81A-0B10-D611-AF1F185E4D0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75769" y="3484563"/>
            <a:ext cx="2752324" cy="2497137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BF0C713-EACB-22E0-3AE1-304A75F202F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52459" y="3484563"/>
            <a:ext cx="2749927" cy="2497137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2AF188-3D2C-76B0-48DA-0C564B17792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9048456" y="3484563"/>
            <a:ext cx="2749927" cy="2497137"/>
          </a:xfrm>
        </p:spPr>
        <p:txBody>
          <a:bodyPr rIns="91440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5B11690-3DC6-7B4C-5196-E388A51146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408A6C4D-3F5E-1CC8-64FD-F01177BD1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57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 Four Content Four Infographic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6A1FE59-52D8-7819-FCA0-4B8512415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08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908" y="2975077"/>
            <a:ext cx="2730641" cy="2956580"/>
          </a:xfrm>
          <a:solidFill>
            <a:srgbClr val="FFE8D4"/>
          </a:solidFill>
        </p:spPr>
        <p:txBody>
          <a:bodyPr lIns="182880" tIns="1645920"/>
          <a:lstStyle>
            <a:lvl1pPr>
              <a:spcAft>
                <a:spcPts val="1800"/>
              </a:spcAft>
              <a:defRPr sz="15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F624C-8E74-64EA-25D6-81C018D703C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92401" y="2975077"/>
            <a:ext cx="2730641" cy="2956580"/>
          </a:xfrm>
          <a:solidFill>
            <a:srgbClr val="FFE8D4"/>
          </a:solidFill>
        </p:spPr>
        <p:txBody>
          <a:bodyPr lIns="182880" tIns="1645920"/>
          <a:lstStyle>
            <a:lvl1pPr>
              <a:spcAft>
                <a:spcPts val="1800"/>
              </a:spcAft>
              <a:defRPr sz="15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5BA71C3-8B98-CBAD-967B-B8C200A9F9D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181894" y="2975077"/>
            <a:ext cx="2730641" cy="2956580"/>
          </a:xfrm>
          <a:solidFill>
            <a:srgbClr val="FFE8D4"/>
          </a:solidFill>
        </p:spPr>
        <p:txBody>
          <a:bodyPr lIns="182880" tIns="1645920"/>
          <a:lstStyle>
            <a:lvl1pPr>
              <a:spcAft>
                <a:spcPts val="1800"/>
              </a:spcAft>
              <a:defRPr sz="15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83A7053-6A7D-A8F8-4656-87270953BD6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71386" y="2975077"/>
            <a:ext cx="2730641" cy="2956580"/>
          </a:xfrm>
          <a:solidFill>
            <a:srgbClr val="FFE8D4"/>
          </a:solidFill>
        </p:spPr>
        <p:txBody>
          <a:bodyPr lIns="182880" tIns="1645920"/>
          <a:lstStyle>
            <a:lvl1pPr>
              <a:spcAft>
                <a:spcPts val="1800"/>
              </a:spcAft>
              <a:defRPr sz="15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C48D2-B18D-75C7-0C7E-1D9DB13960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D9EBCD51-8DA2-A863-38B9-4D39E92CB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D80E08F-9CFF-A0A0-CB3A-AC9CDC3AD14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93617" y="1428750"/>
            <a:ext cx="5645947" cy="1428750"/>
          </a:xfrm>
        </p:spPr>
        <p:txBody>
          <a:bodyPr rIns="91440"/>
          <a:lstStyle>
            <a:lvl1pPr>
              <a:defRPr sz="2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5677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68A701A6-89AB-4B4D-0870-B17023D69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4478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5F5E5E69-4FFF-DFC2-659C-7E55787A02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669" y="1428750"/>
            <a:ext cx="2647951" cy="2455863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669" y="3998913"/>
            <a:ext cx="2757805" cy="19827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FEE2C3B1-D32B-2DC8-8154-D81D14148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89821" y="1428750"/>
            <a:ext cx="2647951" cy="2455863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5DA3B61-E81A-0B10-D611-AF1F185E4D0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89821" y="3998913"/>
            <a:ext cx="2752324" cy="19827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E4143737-9FAE-4BEB-0906-D059D53A4E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66511" y="1428750"/>
            <a:ext cx="2647951" cy="2455863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BF0C713-EACB-22E0-3AE1-304A75F202F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66511" y="3998913"/>
            <a:ext cx="2749927" cy="19827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5FAA5E52-06C6-50C6-842F-09B2897EB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48456" y="1428750"/>
            <a:ext cx="2647951" cy="2455863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2AF188-3D2C-76B0-48DA-0C564B17792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9048456" y="3998913"/>
            <a:ext cx="2749927" cy="19827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C3E4A20-48E1-6B96-207C-2A01DD8E97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404392E8-8FC9-D8AC-538E-69F5A15C16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869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3858E610-9BD2-B05C-EB3A-1A76DB512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DB5F46A-D65E-8319-07D3-423E64224A7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99482" y="1443674"/>
            <a:ext cx="2597467" cy="3980813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2000" b="1">
                <a:latin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C981AC-1133-16A2-C7BE-8EEEC24A1CC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93938" y="1443674"/>
            <a:ext cx="2597467" cy="3980813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A4F26F45-080E-2E94-7AE8-D48A53D6BB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7914" y="1428750"/>
            <a:ext cx="5634604" cy="2455863"/>
          </a:xfrm>
          <a:solidFill>
            <a:schemeClr val="bg2"/>
          </a:solidFill>
        </p:spPr>
        <p:txBody>
          <a:bodyPr tIns="7315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F220BC4-6918-5D08-690A-5DF19E0F69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57913" y="4041936"/>
            <a:ext cx="2765425" cy="1929924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8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A732D9-8671-5C81-D1CA-1C96F66F29C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44749" y="4041936"/>
            <a:ext cx="2765425" cy="1929924"/>
          </a:xfrm>
        </p:spPr>
        <p:txBody>
          <a:bodyPr/>
          <a:lstStyle>
            <a:lvl1pPr>
              <a:lnSpc>
                <a:spcPct val="100000"/>
              </a:lnSpc>
              <a:spcAft>
                <a:spcPts val="1300"/>
              </a:spcAft>
              <a:defRPr sz="1200" b="0">
                <a:latin typeface="+mj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5361E65-8489-022E-9A46-0B36035A1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6F60ED92-61BC-58F9-6255-C99E6BFB73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626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5F55CA50-833E-6AD7-FF00-933528ACE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8072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677C545-7EB4-7043-6F4E-6EF59E44A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80" y="1949196"/>
            <a:ext cx="1796733" cy="352196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1DE2265-798C-4C34-2F7A-9E37AD0B72E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330243" y="1949196"/>
            <a:ext cx="1796733" cy="352196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9929FFD-F8B6-8070-3AC3-1EF5C988CD6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49006" y="1949196"/>
            <a:ext cx="1796733" cy="352196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70EFDA-9453-BCA5-D941-12F2ACA2074F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167769" y="1949196"/>
            <a:ext cx="1796733" cy="352196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3C9BD80-9837-E8C2-7515-BE852BF7BD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086532" y="1949196"/>
            <a:ext cx="1796733" cy="352196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8414709-ADE5-C602-1625-C637F6C5FB1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0005295" y="1949196"/>
            <a:ext cx="1796733" cy="352196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FC01FB3-8B1A-6F97-AB07-F4AF0F675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2E9AFACD-CF24-6CBE-B881-BC6725753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389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7914" y="400050"/>
            <a:ext cx="5643562" cy="2970214"/>
          </a:xfrm>
        </p:spPr>
        <p:txBody>
          <a:bodyPr/>
          <a:lstStyle>
            <a:lvl1pPr>
              <a:spcAft>
                <a:spcPts val="1200"/>
              </a:spcAft>
              <a:defRPr sz="14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0FCB0834-B748-0F65-C02A-23EC83C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8" y="3998913"/>
            <a:ext cx="4801396" cy="1425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3">
            <a:extLst>
              <a:ext uri="{FF2B5EF4-FFF2-40B4-BE49-F238E27FC236}">
                <a16:creationId xmlns:a16="http://schemas.microsoft.com/office/drawing/2014/main" id="{83F37CB8-4B0C-85FD-979D-0EFBFDE2A1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C9C41-CB60-9C3F-4A21-4DCCF3B44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3447482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5187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Six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C59803B-BF63-6637-E0C7-431792EDF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8072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3E53EE2-D031-FB0F-FA32-18DFB38D853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07670" y="1949410"/>
            <a:ext cx="1800543" cy="1415772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15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677C545-7EB4-7043-6F4E-6EF59E44A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80" y="3488436"/>
            <a:ext cx="1796733" cy="2443101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lnSpc>
                <a:spcPct val="100000"/>
              </a:lnSpc>
              <a:spcBef>
                <a:spcPts val="300"/>
              </a:spcBef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544A30F-D4EB-D59A-37AC-6229A950B4E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326433" y="1949410"/>
            <a:ext cx="1800543" cy="1415772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15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604CA07-6A61-6EE7-9AB7-5D1AC3E61585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326433" y="3488436"/>
            <a:ext cx="1796733" cy="2443101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lnSpc>
                <a:spcPct val="100000"/>
              </a:lnSpc>
              <a:spcBef>
                <a:spcPts val="300"/>
              </a:spcBef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17F671-8B9C-F9FE-AEDA-9A8FBDDADA36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249006" y="1949410"/>
            <a:ext cx="1800543" cy="1415772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15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89B651F7-7166-CE84-83FD-8A58F6870DE8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249006" y="3488436"/>
            <a:ext cx="1796733" cy="2443101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lnSpc>
                <a:spcPct val="100000"/>
              </a:lnSpc>
              <a:spcBef>
                <a:spcPts val="300"/>
              </a:spcBef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CE30FE5-2A66-1ECD-730E-80C2B769357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67769" y="1949410"/>
            <a:ext cx="1800543" cy="1415772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15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590F1832-1857-55DA-5830-56D2E0B84073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167769" y="3488436"/>
            <a:ext cx="1796733" cy="2443101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lnSpc>
                <a:spcPct val="100000"/>
              </a:lnSpc>
              <a:spcBef>
                <a:spcPts val="300"/>
              </a:spcBef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67701D3-6751-E230-8414-4D83FACD190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086532" y="1949410"/>
            <a:ext cx="1800543" cy="1415772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15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D9D2967-C22A-B1DF-008F-37A536CDA2A4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8086532" y="3488436"/>
            <a:ext cx="1796733" cy="2443101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lnSpc>
                <a:spcPct val="100000"/>
              </a:lnSpc>
              <a:spcBef>
                <a:spcPts val="300"/>
              </a:spcBef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64E5050-91BD-1F8D-DCE3-AFCCBA5D49FE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0005295" y="1949410"/>
            <a:ext cx="1800543" cy="1415772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15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0B501A3-4C30-D139-31F2-53CC077019FD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10005295" y="3488436"/>
            <a:ext cx="1796733" cy="2443101"/>
          </a:xfrm>
        </p:spPr>
        <p:txBody>
          <a:bodyPr/>
          <a:lstStyle>
            <a:lvl1pPr>
              <a:spcAft>
                <a:spcPts val="1200"/>
              </a:spcAft>
              <a:defRPr sz="1500"/>
            </a:lvl1pPr>
            <a:lvl2pPr>
              <a:lnSpc>
                <a:spcPct val="100000"/>
              </a:lnSpc>
              <a:spcBef>
                <a:spcPts val="300"/>
              </a:spcBef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953C0A1-993D-3C98-C331-16749B76A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15441E1C-321B-0C48-3C86-6A2676A09A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670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83" y="-300748"/>
            <a:ext cx="5638005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340C10-F5A2-1E40-474D-C57EC62F0F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6039888" y="593396"/>
            <a:ext cx="941937" cy="62295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2700" marR="5080" lvl="0" indent="0" defTabSz="914400" eaLnBrk="1" fontAlgn="auto" latinLnBrk="0" hangingPunct="1">
              <a:lnSpc>
                <a:spcPct val="8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1" u="none" strike="noStrike" kern="0" cap="none" spc="-105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" panose="020B0604020202020204" pitchFamily="34" charset="0"/>
              </a:rPr>
              <a:t>“</a:t>
            </a:r>
            <a:endParaRPr lang="en-US" sz="6000" b="1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E3B15-3502-F478-0302-DCABA0B41A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3135" y="1317530"/>
            <a:ext cx="5668962" cy="3758184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defRPr sz="4000" b="0" spc="-5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53829" y="4983333"/>
            <a:ext cx="4702359" cy="10148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2B9EA5E-E423-D219-6037-CCB61AE3B5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C901CE32-26BB-268E-2590-66DB5ADDF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15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516" y="-300748"/>
            <a:ext cx="5647097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4BAF2E-BAB1-C03F-41A7-B26DABB21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72991" y="2732672"/>
            <a:ext cx="941937" cy="62295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2700" marR="5080" lvl="0" indent="0" defTabSz="914400" eaLnBrk="1" fontAlgn="auto" latinLnBrk="0" hangingPunct="1">
              <a:lnSpc>
                <a:spcPct val="8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1" u="none" strike="noStrike" kern="0" cap="none" spc="-105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" panose="020B0604020202020204" pitchFamily="34" charset="0"/>
              </a:rPr>
              <a:t>“</a:t>
            </a:r>
            <a:endParaRPr lang="en-US" sz="6000" b="1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E3B15-3502-F478-0302-DCABA0B41A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516" y="3485571"/>
            <a:ext cx="5498502" cy="2503272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defRPr sz="3200" b="0" spc="-5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60655EE7-5FC0-8DDF-88F0-21ECCBD7D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0276" y="393871"/>
            <a:ext cx="5660724" cy="4544842"/>
          </a:xfrm>
          <a:custGeom>
            <a:avLst/>
            <a:gdLst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0 w 5660724"/>
              <a:gd name="connsiteY3" fmla="*/ 4544842 h 4544842"/>
              <a:gd name="connsiteX4" fmla="*/ 0 w 5660724"/>
              <a:gd name="connsiteY4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056464 w 5660724"/>
              <a:gd name="connsiteY3" fmla="*/ 4536269 h 4544842"/>
              <a:gd name="connsiteX4" fmla="*/ 0 w 5660724"/>
              <a:gd name="connsiteY4" fmla="*/ 4544842 h 4544842"/>
              <a:gd name="connsiteX5" fmla="*/ 0 w 5660724"/>
              <a:gd name="connsiteY5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643204 w 5660724"/>
              <a:gd name="connsiteY3" fmla="*/ 4521029 h 4544842"/>
              <a:gd name="connsiteX4" fmla="*/ 2056464 w 5660724"/>
              <a:gd name="connsiteY4" fmla="*/ 4536269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231724 w 5660724"/>
              <a:gd name="connsiteY3" fmla="*/ 4071449 h 4544842"/>
              <a:gd name="connsiteX4" fmla="*/ 2056464 w 5660724"/>
              <a:gd name="connsiteY4" fmla="*/ 4536269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925144 w 5660724"/>
              <a:gd name="connsiteY3" fmla="*/ 3781889 h 4544842"/>
              <a:gd name="connsiteX4" fmla="*/ 2056464 w 5660724"/>
              <a:gd name="connsiteY4" fmla="*/ 4536269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909904 w 5660724"/>
              <a:gd name="connsiteY3" fmla="*/ 4109549 h 4544842"/>
              <a:gd name="connsiteX4" fmla="*/ 2056464 w 5660724"/>
              <a:gd name="connsiteY4" fmla="*/ 4536269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909904 w 5660724"/>
              <a:gd name="connsiteY3" fmla="*/ 4109549 h 4544842"/>
              <a:gd name="connsiteX4" fmla="*/ 2612724 w 5660724"/>
              <a:gd name="connsiteY4" fmla="*/ 4528649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909904 w 5660724"/>
              <a:gd name="connsiteY3" fmla="*/ 4109549 h 4544842"/>
              <a:gd name="connsiteX4" fmla="*/ 2534143 w 5660724"/>
              <a:gd name="connsiteY4" fmla="*/ 4442924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909904 w 5660724"/>
              <a:gd name="connsiteY3" fmla="*/ 4109549 h 4544842"/>
              <a:gd name="connsiteX4" fmla="*/ 2593674 w 5660724"/>
              <a:gd name="connsiteY4" fmla="*/ 4535793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771791 w 5660724"/>
              <a:gd name="connsiteY3" fmla="*/ 3971436 h 4544842"/>
              <a:gd name="connsiteX4" fmla="*/ 2593674 w 5660724"/>
              <a:gd name="connsiteY4" fmla="*/ 4535793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544842 h 4544842"/>
              <a:gd name="connsiteX3" fmla="*/ 2874185 w 5660724"/>
              <a:gd name="connsiteY3" fmla="*/ 4114311 h 4544842"/>
              <a:gd name="connsiteX4" fmla="*/ 2593674 w 5660724"/>
              <a:gd name="connsiteY4" fmla="*/ 4535793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60724 w 5660724"/>
              <a:gd name="connsiteY2" fmla="*/ 4113836 h 4544842"/>
              <a:gd name="connsiteX3" fmla="*/ 2874185 w 5660724"/>
              <a:gd name="connsiteY3" fmla="*/ 4114311 h 4544842"/>
              <a:gd name="connsiteX4" fmla="*/ 2593674 w 5660724"/>
              <a:gd name="connsiteY4" fmla="*/ 4535793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72631"/>
              <a:gd name="connsiteY0" fmla="*/ 0 h 4544842"/>
              <a:gd name="connsiteX1" fmla="*/ 5660724 w 5672631"/>
              <a:gd name="connsiteY1" fmla="*/ 0 h 4544842"/>
              <a:gd name="connsiteX2" fmla="*/ 5672631 w 5672631"/>
              <a:gd name="connsiteY2" fmla="*/ 4054305 h 4544842"/>
              <a:gd name="connsiteX3" fmla="*/ 2874185 w 5672631"/>
              <a:gd name="connsiteY3" fmla="*/ 4114311 h 4544842"/>
              <a:gd name="connsiteX4" fmla="*/ 2593674 w 5672631"/>
              <a:gd name="connsiteY4" fmla="*/ 4535793 h 4544842"/>
              <a:gd name="connsiteX5" fmla="*/ 0 w 5672631"/>
              <a:gd name="connsiteY5" fmla="*/ 4544842 h 4544842"/>
              <a:gd name="connsiteX6" fmla="*/ 0 w 5672631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55963 w 5660724"/>
              <a:gd name="connsiteY2" fmla="*/ 4120980 h 4544842"/>
              <a:gd name="connsiteX3" fmla="*/ 2874185 w 5660724"/>
              <a:gd name="connsiteY3" fmla="*/ 4114311 h 4544842"/>
              <a:gd name="connsiteX4" fmla="*/ 2593674 w 5660724"/>
              <a:gd name="connsiteY4" fmla="*/ 4535793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  <a:gd name="connsiteX0" fmla="*/ 0 w 5660724"/>
              <a:gd name="connsiteY0" fmla="*/ 0 h 4544842"/>
              <a:gd name="connsiteX1" fmla="*/ 5660724 w 5660724"/>
              <a:gd name="connsiteY1" fmla="*/ 0 h 4544842"/>
              <a:gd name="connsiteX2" fmla="*/ 5655963 w 5660724"/>
              <a:gd name="connsiteY2" fmla="*/ 4120980 h 4544842"/>
              <a:gd name="connsiteX3" fmla="*/ 2874185 w 5660724"/>
              <a:gd name="connsiteY3" fmla="*/ 4121455 h 4544842"/>
              <a:gd name="connsiteX4" fmla="*/ 2593674 w 5660724"/>
              <a:gd name="connsiteY4" fmla="*/ 4535793 h 4544842"/>
              <a:gd name="connsiteX5" fmla="*/ 0 w 5660724"/>
              <a:gd name="connsiteY5" fmla="*/ 4544842 h 4544842"/>
              <a:gd name="connsiteX6" fmla="*/ 0 w 5660724"/>
              <a:gd name="connsiteY6" fmla="*/ 0 h 4544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60724" h="4544842">
                <a:moveTo>
                  <a:pt x="0" y="0"/>
                </a:moveTo>
                <a:lnTo>
                  <a:pt x="5660724" y="0"/>
                </a:lnTo>
                <a:lnTo>
                  <a:pt x="5655963" y="4120980"/>
                </a:lnTo>
                <a:lnTo>
                  <a:pt x="2874185" y="4121455"/>
                </a:lnTo>
                <a:lnTo>
                  <a:pt x="2593674" y="4535793"/>
                </a:lnTo>
                <a:lnTo>
                  <a:pt x="0" y="454484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tIns="1280160"/>
          <a:lstStyle>
            <a:lvl1pPr algn="ctr">
              <a:defRPr b="0" i="0"/>
            </a:lvl1pPr>
          </a:lstStyle>
          <a:p>
            <a:r>
              <a:rPr lang="en-US"/>
              <a:t>Click icon to add picture—d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not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cale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or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tretch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this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hot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lacehol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50276" y="4987818"/>
            <a:ext cx="5660724" cy="730266"/>
          </a:xfrm>
        </p:spPr>
        <p:txBody>
          <a:bodyPr/>
          <a:lstStyle>
            <a:lvl1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defRPr sz="1600"/>
            </a:lvl1pPr>
            <a:lvl2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defRPr sz="1600"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32291E-24B4-2FB8-4B35-A439686DB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61A378F0-4CD0-C4E0-D2F7-5959B577E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15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516" y="-300748"/>
            <a:ext cx="5647097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4BAF2E-BAB1-C03F-41A7-B26DABB21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72991" y="2732672"/>
            <a:ext cx="941937" cy="62295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2700" marR="5080" lvl="0" indent="0" defTabSz="914400" eaLnBrk="1" fontAlgn="auto" latinLnBrk="0" hangingPunct="1">
              <a:lnSpc>
                <a:spcPct val="8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1" u="none" strike="noStrike" kern="0" cap="none" spc="-105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" panose="020B0604020202020204" pitchFamily="34" charset="0"/>
              </a:rPr>
              <a:t>“</a:t>
            </a:r>
            <a:endParaRPr lang="en-US" sz="6000" b="1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E3B15-3502-F478-0302-DCABA0B41A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516" y="3485571"/>
            <a:ext cx="5498502" cy="2503272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defRPr sz="3200" b="0" spc="-5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AE626E5-51F6-0BEB-2AFE-FE78E1409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pic" sz="quarter" idx="11" hasCustomPrompt="1"/>
          </p:nvPr>
        </p:nvSpPr>
        <p:spPr>
          <a:xfrm>
            <a:off x="6163970" y="400050"/>
            <a:ext cx="5637503" cy="4521510"/>
          </a:xfrm>
          <a:custGeom>
            <a:avLst/>
            <a:gdLst>
              <a:gd name="connsiteX0" fmla="*/ 0 w 5637503"/>
              <a:gd name="connsiteY0" fmla="*/ 0 h 4521510"/>
              <a:gd name="connsiteX1" fmla="*/ 5637503 w 5637503"/>
              <a:gd name="connsiteY1" fmla="*/ 0 h 4521510"/>
              <a:gd name="connsiteX2" fmla="*/ 5636321 w 5637503"/>
              <a:gd name="connsiteY2" fmla="*/ 2101892 h 4521510"/>
              <a:gd name="connsiteX3" fmla="*/ 5635136 w 5637503"/>
              <a:gd name="connsiteY3" fmla="*/ 4208474 h 4521510"/>
              <a:gd name="connsiteX4" fmla="*/ 2786509 w 5637503"/>
              <a:gd name="connsiteY4" fmla="*/ 4206576 h 4521510"/>
              <a:gd name="connsiteX5" fmla="*/ 2583036 w 5637503"/>
              <a:gd name="connsiteY5" fmla="*/ 4512498 h 4521510"/>
              <a:gd name="connsiteX6" fmla="*/ 0 w 5637503"/>
              <a:gd name="connsiteY6" fmla="*/ 4521510 h 4521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37503" h="4521510">
                <a:moveTo>
                  <a:pt x="0" y="0"/>
                </a:moveTo>
                <a:lnTo>
                  <a:pt x="5637503" y="0"/>
                </a:lnTo>
                <a:lnTo>
                  <a:pt x="5636321" y="2101892"/>
                </a:lnTo>
                <a:cubicBezTo>
                  <a:pt x="5636518" y="2804481"/>
                  <a:pt x="5636716" y="3507070"/>
                  <a:pt x="5635136" y="4208474"/>
                </a:cubicBezTo>
                <a:lnTo>
                  <a:pt x="2786509" y="4206576"/>
                </a:lnTo>
                <a:lnTo>
                  <a:pt x="2583036" y="4512498"/>
                </a:lnTo>
                <a:lnTo>
                  <a:pt x="0" y="452151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1280160" bIns="2743200" anchor="t" anchorCtr="0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 add picture—d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not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cale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or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tretch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this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hot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lacehol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50276" y="4987818"/>
            <a:ext cx="5660724" cy="730266"/>
          </a:xfrm>
        </p:spPr>
        <p:txBody>
          <a:bodyPr/>
          <a:lstStyle>
            <a:lvl1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defRPr sz="1600"/>
            </a:lvl1pPr>
            <a:lvl2pPr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defRPr sz="1600"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05F451-C7FA-B67A-7A4E-B4953B3BFE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07A1FB0A-E7CA-63CD-DB09-C9F16CA91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881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743AD5A7-567D-9EC7-BECB-71D2480F24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6857999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-300748"/>
            <a:ext cx="5634788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339CEB-91F9-B7FD-86D6-A4C114DA30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3536" y="400051"/>
            <a:ext cx="6078018" cy="5024273"/>
          </a:xfrm>
          <a:custGeom>
            <a:avLst/>
            <a:gdLst>
              <a:gd name="connsiteX0" fmla="*/ 0 w 6078018"/>
              <a:gd name="connsiteY0" fmla="*/ 0 h 5024273"/>
              <a:gd name="connsiteX1" fmla="*/ 6078018 w 6078018"/>
              <a:gd name="connsiteY1" fmla="*/ 0 h 5024273"/>
              <a:gd name="connsiteX2" fmla="*/ 6078018 w 6078018"/>
              <a:gd name="connsiteY2" fmla="*/ 4662902 h 5024273"/>
              <a:gd name="connsiteX3" fmla="*/ 3041951 w 6078018"/>
              <a:gd name="connsiteY3" fmla="*/ 4663975 h 5024273"/>
              <a:gd name="connsiteX4" fmla="*/ 2829053 w 6078018"/>
              <a:gd name="connsiteY4" fmla="*/ 5023866 h 5024273"/>
              <a:gd name="connsiteX5" fmla="*/ 0 w 6078018"/>
              <a:gd name="connsiteY5" fmla="*/ 5024273 h 5024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78018" h="5024273">
                <a:moveTo>
                  <a:pt x="0" y="0"/>
                </a:moveTo>
                <a:lnTo>
                  <a:pt x="6078018" y="0"/>
                </a:lnTo>
                <a:lnTo>
                  <a:pt x="6078018" y="4662902"/>
                </a:lnTo>
                <a:lnTo>
                  <a:pt x="3041951" y="4663975"/>
                </a:lnTo>
                <a:lnTo>
                  <a:pt x="2829053" y="5023866"/>
                </a:lnTo>
                <a:lnTo>
                  <a:pt x="0" y="502427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11480" tIns="1170432" rIns="365760">
            <a:noAutofit/>
          </a:bodyPr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defRPr sz="3200" b="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59197" y="4470739"/>
            <a:ext cx="4704858" cy="51083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0D1BEFAC-D99F-7020-6110-CD8460311A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728" y="6501384"/>
            <a:ext cx="365760" cy="161583"/>
          </a:xfrm>
        </p:spPr>
        <p:txBody>
          <a:bodyPr anchor="b" anchorCtr="0">
            <a:noAutofit/>
          </a:bodyPr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wC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DFE5ED4-420E-CADB-A68A-A7D42128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961284F9-299F-5762-4D10-4246CB963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EFB371-D664-A7CF-D5EE-BB0684D60FED}"/>
              </a:ext>
            </a:extLst>
          </p:cNvPr>
          <p:cNvSpPr txBox="1"/>
          <p:nvPr userDrawn="1"/>
        </p:nvSpPr>
        <p:spPr>
          <a:xfrm>
            <a:off x="6034838" y="299570"/>
            <a:ext cx="762000" cy="838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2700" marR="5080" lvl="0" indent="0" defTabSz="914400" eaLnBrk="1" fontAlgn="auto" latinLnBrk="0" hangingPunct="1"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1" u="none" strike="noStrike" kern="0" cap="none" spc="-105" normalizeH="0" baseline="0" noProof="0">
                <a:ln>
                  <a:noFill/>
                </a:ln>
                <a:solidFill>
                  <a:srgbClr val="FC5108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“</a:t>
            </a:r>
            <a:endParaRPr kumimoji="0" lang="en-US" sz="13800" b="1" u="none" strike="noStrike" kern="0" cap="none" spc="0" normalizeH="0" baseline="0" noProof="0">
              <a:ln>
                <a:noFill/>
              </a:ln>
              <a:solidFill>
                <a:srgbClr val="FC5108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  <a:p>
            <a:endParaRPr lang="en-US" sz="6000" b="1">
              <a:solidFill>
                <a:srgbClr val="FC5108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5920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-300748"/>
            <a:ext cx="5643563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1694" y="4463448"/>
            <a:ext cx="4704858" cy="5358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CE2EE15-D090-23D5-91E1-84A48D697B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1192" y="737608"/>
            <a:ext cx="5671976" cy="4744821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ct val="100000"/>
              </a:lnSpc>
              <a:defRPr sz="6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DF16A-3F0F-40AD-25BD-32F2F4A17D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E1340CD9-3B8A-B030-B8FC-EAD510678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9204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bg>
      <p:bgPr>
        <a:solidFill>
          <a:srgbClr val="DFE3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-300748"/>
            <a:ext cx="5643563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2336" y="4462272"/>
            <a:ext cx="4704858" cy="5358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CE2EE15-D090-23D5-91E1-84A48D697B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3056" y="740664"/>
            <a:ext cx="5671976" cy="4744821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ct val="100000"/>
              </a:lnSpc>
              <a:defRPr sz="6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CBD27D-46ED-F893-79F1-23481FEA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8206B60F-A556-76A5-2FBC-4C736F4B16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5457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bg>
      <p:bgPr>
        <a:solidFill>
          <a:srgbClr val="FFE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336" y="-300748"/>
            <a:ext cx="5641277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2336" y="4462272"/>
            <a:ext cx="4704858" cy="5358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CE2EE15-D090-23D5-91E1-84A48D697B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3056" y="740664"/>
            <a:ext cx="5671976" cy="4744821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ct val="100000"/>
              </a:lnSpc>
              <a:defRPr sz="6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A77249-98B8-FACA-4ACE-60FB5325B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3427FF8A-B4F7-3F6B-6AC3-2F7EC1DC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5598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F2C136D6-EB53-8EAB-067D-F21D72B54E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12192000" cy="6857999"/>
          </a:xfrm>
          <a:solidFill>
            <a:schemeClr val="bg1">
              <a:lumMod val="85000"/>
            </a:schemeClr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663" y="-319682"/>
            <a:ext cx="5695950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2336" y="4462272"/>
            <a:ext cx="4704858" cy="5358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CE2EE15-D090-23D5-91E1-84A48D697B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3056" y="740664"/>
            <a:ext cx="5671976" cy="4744821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ct val="100000"/>
              </a:lnSpc>
              <a:defRPr sz="6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D3CF2F-7A33-6AA8-EBBC-3A558D724586}"/>
              </a:ext>
            </a:extLst>
          </p:cNvPr>
          <p:cNvSpPr txBox="1"/>
          <p:nvPr userDrawn="1"/>
        </p:nvSpPr>
        <p:spPr>
          <a:xfrm>
            <a:off x="394728" y="6501384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US" sz="1050" b="1">
                <a:solidFill>
                  <a:schemeClr val="bg1"/>
                </a:solidFill>
              </a:rPr>
              <a:t>PwC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94593D8-AEB6-3CA5-7E3B-6BA6D55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C1E67C1D-7D69-01C7-F212-8FD6EC41D5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5353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D055151-7117-866F-6824-F774A7F56F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284" y="3480486"/>
            <a:ext cx="4499480" cy="2458352"/>
          </a:xfrm>
        </p:spPr>
        <p:txBody>
          <a:bodyPr/>
          <a:lstStyle>
            <a:lvl1pPr>
              <a:lnSpc>
                <a:spcPct val="100000"/>
              </a:lnSpc>
              <a:defRPr sz="3200" b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F96854-0B82-0332-CB0D-B653A0471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pic" sz="quarter" idx="11" hasCustomPrompt="1"/>
          </p:nvPr>
        </p:nvSpPr>
        <p:spPr>
          <a:xfrm>
            <a:off x="5199063" y="400050"/>
            <a:ext cx="6614842" cy="5539040"/>
          </a:xfrm>
          <a:custGeom>
            <a:avLst/>
            <a:gdLst>
              <a:gd name="connsiteX0" fmla="*/ 2370 w 6614842"/>
              <a:gd name="connsiteY0" fmla="*/ 0 h 5539040"/>
              <a:gd name="connsiteX1" fmla="*/ 6614842 w 6614842"/>
              <a:gd name="connsiteY1" fmla="*/ 0 h 5539040"/>
              <a:gd name="connsiteX2" fmla="*/ 6611213 w 6614842"/>
              <a:gd name="connsiteY2" fmla="*/ 5179084 h 5539040"/>
              <a:gd name="connsiteX3" fmla="*/ 3320084 w 6614842"/>
              <a:gd name="connsiteY3" fmla="*/ 5175675 h 5539040"/>
              <a:gd name="connsiteX4" fmla="*/ 3075776 w 6614842"/>
              <a:gd name="connsiteY4" fmla="*/ 5539040 h 5539040"/>
              <a:gd name="connsiteX5" fmla="*/ 0 w 6614842"/>
              <a:gd name="connsiteY5" fmla="*/ 5536403 h 5539040"/>
              <a:gd name="connsiteX6" fmla="*/ 2078 w 6614842"/>
              <a:gd name="connsiteY6" fmla="*/ 2755139 h 553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14842" h="5539040">
                <a:moveTo>
                  <a:pt x="2370" y="0"/>
                </a:moveTo>
                <a:lnTo>
                  <a:pt x="6614842" y="0"/>
                </a:lnTo>
                <a:lnTo>
                  <a:pt x="6611213" y="5179084"/>
                </a:lnTo>
                <a:lnTo>
                  <a:pt x="3320084" y="5175675"/>
                </a:lnTo>
                <a:lnTo>
                  <a:pt x="3075776" y="5539040"/>
                </a:lnTo>
                <a:lnTo>
                  <a:pt x="0" y="5536403"/>
                </a:lnTo>
                <a:cubicBezTo>
                  <a:pt x="1583" y="4615367"/>
                  <a:pt x="1979" y="3686592"/>
                  <a:pt x="2078" y="275513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914400" tIns="1554480" rIns="914400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 add picture—d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not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cale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or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tretch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this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hot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laceholder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29E8A37-B7AE-34F5-AC2C-2C3307E453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83E901E5-0C0F-02C2-6E8B-66E81BE06A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2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7914" y="400050"/>
            <a:ext cx="5643562" cy="3998913"/>
          </a:xfrm>
        </p:spPr>
        <p:txBody>
          <a:bodyPr/>
          <a:lstStyle>
            <a:lvl1pPr>
              <a:spcAft>
                <a:spcPts val="1200"/>
              </a:spcAft>
              <a:defRPr sz="14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0FCB0834-B748-0F65-C02A-23EC83C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8" y="3998913"/>
            <a:ext cx="4801396" cy="1425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3">
            <a:extLst>
              <a:ext uri="{FF2B5EF4-FFF2-40B4-BE49-F238E27FC236}">
                <a16:creationId xmlns:a16="http://schemas.microsoft.com/office/drawing/2014/main" id="{83F37CB8-4B0C-85FD-979D-0EFBFDE2A1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C9C41-CB60-9C3F-4A21-4DCCF3B44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3447482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52175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EA67855-93A6-BD43-750C-42D579FD0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6" y="402336"/>
            <a:ext cx="3737453" cy="12953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E1A1E6-6268-D4D9-C145-1013364B1C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670" y="2979420"/>
            <a:ext cx="3727450" cy="26209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/>
            </a:lvl1pPr>
            <a:lvl2pPr>
              <a:defRPr sz="12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FA2383-F769-2E5D-64C9-71C8F2AC63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pic" sz="quarter" idx="11" hasCustomPrompt="1"/>
          </p:nvPr>
        </p:nvSpPr>
        <p:spPr>
          <a:xfrm>
            <a:off x="5199063" y="402336"/>
            <a:ext cx="6614837" cy="5532376"/>
          </a:xfrm>
          <a:custGeom>
            <a:avLst/>
            <a:gdLst>
              <a:gd name="connsiteX0" fmla="*/ 2369 w 6614837"/>
              <a:gd name="connsiteY0" fmla="*/ 0 h 5532376"/>
              <a:gd name="connsiteX1" fmla="*/ 6614837 w 6614837"/>
              <a:gd name="connsiteY1" fmla="*/ 0 h 5532376"/>
              <a:gd name="connsiteX2" fmla="*/ 6611213 w 6614837"/>
              <a:gd name="connsiteY2" fmla="*/ 5172420 h 5532376"/>
              <a:gd name="connsiteX3" fmla="*/ 3320084 w 6614837"/>
              <a:gd name="connsiteY3" fmla="*/ 5169011 h 5532376"/>
              <a:gd name="connsiteX4" fmla="*/ 3075776 w 6614837"/>
              <a:gd name="connsiteY4" fmla="*/ 5532376 h 5532376"/>
              <a:gd name="connsiteX5" fmla="*/ 0 w 6614837"/>
              <a:gd name="connsiteY5" fmla="*/ 5529739 h 5532376"/>
              <a:gd name="connsiteX6" fmla="*/ 2078 w 6614837"/>
              <a:gd name="connsiteY6" fmla="*/ 2748475 h 5532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14837" h="5532376">
                <a:moveTo>
                  <a:pt x="2369" y="0"/>
                </a:moveTo>
                <a:lnTo>
                  <a:pt x="6614837" y="0"/>
                </a:lnTo>
                <a:lnTo>
                  <a:pt x="6611213" y="5172420"/>
                </a:lnTo>
                <a:lnTo>
                  <a:pt x="3320084" y="5169011"/>
                </a:lnTo>
                <a:lnTo>
                  <a:pt x="3075776" y="5532376"/>
                </a:lnTo>
                <a:lnTo>
                  <a:pt x="0" y="5529739"/>
                </a:lnTo>
                <a:cubicBezTo>
                  <a:pt x="1583" y="4608703"/>
                  <a:pt x="1979" y="3679928"/>
                  <a:pt x="2078" y="27484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914400" tIns="1554480" rIns="914400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 add picture—d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not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cale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or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tretch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this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hot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laceholder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619E784-11F4-A104-BB77-5E8F8D397A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BF37CFFA-3D80-3409-C50E-D2A382F26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1066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EA67855-93A6-BD43-750C-42D579FD0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8" y="2457451"/>
            <a:ext cx="2767808" cy="765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E1A1E6-6268-D4D9-C145-1013364B1C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669" y="3492183"/>
            <a:ext cx="2757805" cy="211582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200" b="0">
                <a:latin typeface="+mj-lt"/>
              </a:defRPr>
            </a:lvl1pPr>
            <a:lvl2pPr>
              <a:defRPr sz="120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65F8295-3C5A-A1AE-F43F-1FA6D8B2F4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30A1C61F-1977-8EC5-355B-66B6908EB5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8FF515D-AF08-494F-FFD1-C5F2FEFB42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3" hasCustomPrompt="1"/>
          </p:nvPr>
        </p:nvSpPr>
        <p:spPr>
          <a:xfrm>
            <a:off x="3288471" y="400050"/>
            <a:ext cx="8513514" cy="5540196"/>
          </a:xfrm>
          <a:custGeom>
            <a:avLst/>
            <a:gdLst>
              <a:gd name="connsiteX0" fmla="*/ 3049 w 8513514"/>
              <a:gd name="connsiteY0" fmla="*/ 0 h 5540196"/>
              <a:gd name="connsiteX1" fmla="*/ 8513003 w 8513514"/>
              <a:gd name="connsiteY1" fmla="*/ 0 h 5540196"/>
              <a:gd name="connsiteX2" fmla="*/ 8512994 w 8513514"/>
              <a:gd name="connsiteY2" fmla="*/ 10458 h 5540196"/>
              <a:gd name="connsiteX3" fmla="*/ 8513514 w 8513514"/>
              <a:gd name="connsiteY3" fmla="*/ 10458 h 5540196"/>
              <a:gd name="connsiteX4" fmla="*/ 8508849 w 8513514"/>
              <a:gd name="connsiteY4" fmla="*/ 5182877 h 5540196"/>
              <a:gd name="connsiteX5" fmla="*/ 4273312 w 8513514"/>
              <a:gd name="connsiteY5" fmla="*/ 5179468 h 5540196"/>
              <a:gd name="connsiteX6" fmla="*/ 4037481 w 8513514"/>
              <a:gd name="connsiteY6" fmla="*/ 5538070 h 5540196"/>
              <a:gd name="connsiteX7" fmla="*/ 511 w 8513514"/>
              <a:gd name="connsiteY7" fmla="*/ 5540196 h 5540196"/>
              <a:gd name="connsiteX8" fmla="*/ 527 w 8513514"/>
              <a:gd name="connsiteY8" fmla="*/ 5529738 h 5540196"/>
              <a:gd name="connsiteX9" fmla="*/ 0 w 8513514"/>
              <a:gd name="connsiteY9" fmla="*/ 5529738 h 5540196"/>
              <a:gd name="connsiteX10" fmla="*/ 2674 w 8513514"/>
              <a:gd name="connsiteY10" fmla="*/ 2748474 h 5540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13514" h="5540196">
                <a:moveTo>
                  <a:pt x="3049" y="0"/>
                </a:moveTo>
                <a:lnTo>
                  <a:pt x="8513003" y="0"/>
                </a:lnTo>
                <a:lnTo>
                  <a:pt x="8512994" y="10458"/>
                </a:lnTo>
                <a:lnTo>
                  <a:pt x="8513514" y="10458"/>
                </a:lnTo>
                <a:lnTo>
                  <a:pt x="8508849" y="5182877"/>
                </a:lnTo>
                <a:lnTo>
                  <a:pt x="4273312" y="5179468"/>
                </a:lnTo>
                <a:lnTo>
                  <a:pt x="4037481" y="5538070"/>
                </a:lnTo>
                <a:lnTo>
                  <a:pt x="511" y="5540196"/>
                </a:lnTo>
                <a:lnTo>
                  <a:pt x="527" y="5529738"/>
                </a:lnTo>
                <a:lnTo>
                  <a:pt x="0" y="5529738"/>
                </a:lnTo>
                <a:cubicBezTo>
                  <a:pt x="2037" y="4608702"/>
                  <a:pt x="2547" y="3679927"/>
                  <a:pt x="2674" y="274847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188720" tIns="1554480" rIns="1188720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 add picture—d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not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cale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or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stretch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this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hoto</a:t>
            </a:r>
            <a:r>
              <a:rPr lang="en-US" sz="1500" kern="10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r>
              <a:rPr lang="en-US"/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26920685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-300748"/>
            <a:ext cx="5643563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949215D-624C-7D6A-5688-62477C18FAD8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150275" y="918220"/>
            <a:ext cx="5660723" cy="1846659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E3B15-3502-F478-0302-DCABA0B41A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0276" y="2433637"/>
            <a:ext cx="5660724" cy="302736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defRPr sz="6600" b="0" spc="-5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B293083-8587-219C-C524-D809D6A866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5AC9A00F-F989-8AFC-7652-904E0B2E4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7C9592-01FB-4A3C-B7D0-60D0B86B7CC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1967" y="4513993"/>
            <a:ext cx="4684384" cy="143271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0"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13596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 2">
    <p:bg>
      <p:bgPr>
        <a:solidFill>
          <a:srgbClr val="FFE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A1D7-A824-48A0-3E0C-4A7C86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-300748"/>
            <a:ext cx="5643563" cy="249299"/>
          </a:xfrm>
        </p:spPr>
        <p:txBody>
          <a:bodyPr wrap="square">
            <a:spAutoFit/>
          </a:bodyPr>
          <a:lstStyle>
            <a:lvl1pPr>
              <a:defRPr sz="1800" b="0"/>
            </a:lvl1pPr>
          </a:lstStyle>
          <a:p>
            <a:r>
              <a:rPr lang="en-US"/>
              <a:t>Title for accessibilit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9DB721-FE7A-8DE5-B433-99C88BFAE50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1967" y="4513993"/>
            <a:ext cx="4684384" cy="143271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 b="0">
                <a:latin typeface="+mj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949215D-624C-7D6A-5688-62477C18FAD8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150275" y="918220"/>
            <a:ext cx="5651199" cy="1846659"/>
          </a:xfrm>
        </p:spPr>
        <p:txBody>
          <a:bodyPr wrap="square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E3B15-3502-F478-0302-DCABA0B41A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0276" y="2433637"/>
            <a:ext cx="5660724" cy="302736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defRPr sz="6600" b="0" spc="-5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88750FF-80B0-EEE6-F89F-A76248A4F8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5E9F5B4A-B723-2879-D7EE-D016027E28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247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69B2012-7A09-E6A5-2473-4DB6823B0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4688683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806524E-A06F-7FE8-9CD5-2244991C1E3D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07670" y="3492183"/>
            <a:ext cx="3719830" cy="2446655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400" b="1">
                <a:latin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099A4469-274E-EB1F-F85D-D95E959AA14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99978" y="1424941"/>
            <a:ext cx="1804072" cy="1432560"/>
          </a:xfrm>
          <a:solidFill>
            <a:schemeClr val="bg2"/>
          </a:solidFill>
        </p:spPr>
        <p:txBody>
          <a:bodyPr tIns="4572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0678072-A6EC-A7CF-E412-0D3F27A1A0A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27838" y="1446213"/>
            <a:ext cx="3711612" cy="14112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750FAC0A-93E6-9A08-7990-0346002AB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99978" y="2981643"/>
            <a:ext cx="1804072" cy="1432560"/>
          </a:xfrm>
          <a:solidFill>
            <a:schemeClr val="bg2"/>
          </a:solidFill>
        </p:spPr>
        <p:txBody>
          <a:bodyPr tIns="4572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62FE28B-1451-7A6D-A415-8DE9235897A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7838" y="2979420"/>
            <a:ext cx="3711612" cy="14112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C66DD72C-97BB-14F2-361C-2441F75A432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199978" y="4521518"/>
            <a:ext cx="1804072" cy="1432560"/>
          </a:xfrm>
          <a:solidFill>
            <a:schemeClr val="bg2"/>
          </a:solidFill>
        </p:spPr>
        <p:txBody>
          <a:bodyPr tIns="4572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DD78EAE-A704-D3CE-D6AA-6E6E52DCA21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27838" y="4519931"/>
            <a:ext cx="3711612" cy="1411287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56C71D-1695-AE64-7C05-4DD0750A3D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3EB5F658-B8CE-7FB5-990E-79F690D1E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6534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S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0A5006C-1C3A-4674-032E-590F9BDB8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3444092"/>
            <a:ext cx="4688683" cy="24490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8B33F3-7C1D-479F-3B92-0DE073C2E4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65533" y="880660"/>
            <a:ext cx="5636494" cy="204542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05126B4-5061-ACE1-29DB-F4E4B93050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A318CA9E-32E8-938F-0187-CE5990310D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D440408-8D82-6FAB-8574-86AD0978A5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5850" y="3500447"/>
            <a:ext cx="5635625" cy="2438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67741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0A5006C-1C3A-4674-032E-590F9BDB8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3492183"/>
            <a:ext cx="5645946" cy="24466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1931EA-4F62-CD08-4165-33E0864045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18350" y="400050"/>
            <a:ext cx="4683125" cy="2970213"/>
          </a:xfrm>
          <a:solidFill>
            <a:schemeClr val="accent1"/>
          </a:solidFill>
        </p:spPr>
        <p:txBody>
          <a:bodyPr lIns="274320" tIns="274320"/>
          <a:lstStyle>
            <a:lvl1pPr>
              <a:spcAft>
                <a:spcPts val="6000"/>
              </a:spcAft>
              <a:defRPr sz="86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b="1">
                <a:latin typeface="+mn-lt"/>
              </a:defRPr>
            </a:lvl2pPr>
          </a:lstStyle>
          <a:p>
            <a:pPr lvl="0"/>
            <a:r>
              <a:rPr lang="en-US"/>
              <a:t>0,0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2A3DA15-4C69-255A-358A-480458D2DF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B39A73BF-92D5-1C5F-A374-82FF240593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8C705A-7501-8BB2-360F-85F75D8C54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37638" y="3484563"/>
            <a:ext cx="2757487" cy="1939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53954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ta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0A5006C-1C3A-4674-032E-590F9BDB8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3492183"/>
            <a:ext cx="5241133" cy="24466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1931EA-4F62-CD08-4165-33E0864045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57914" y="400050"/>
            <a:ext cx="2765424" cy="2777490"/>
          </a:xfrm>
          <a:solidFill>
            <a:srgbClr val="B5BCC4"/>
          </a:solidFill>
        </p:spPr>
        <p:txBody>
          <a:bodyPr lIns="274320" tIns="91440"/>
          <a:lstStyle>
            <a:lvl1pPr>
              <a:spcAft>
                <a:spcPts val="1200"/>
              </a:spcAft>
              <a:tabLst>
                <a:tab pos="457200" algn="l"/>
              </a:tabLst>
              <a:defRPr sz="5400" b="0" baseline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/>
            </a:lvl2pPr>
          </a:lstStyle>
          <a:p>
            <a:pPr lvl="0"/>
            <a:r>
              <a:rPr lang="en-US"/>
              <a:t>0,00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A5BD2F-F935-E22A-B6DD-EB0D8C3A47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0155" y="2457450"/>
            <a:ext cx="2481263" cy="552451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600"/>
              </a:spcAft>
              <a:defRPr sz="10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C582E75-9A43-D86C-AB0D-17BB800A57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36051" y="400050"/>
            <a:ext cx="2765424" cy="2777490"/>
          </a:xfrm>
          <a:solidFill>
            <a:schemeClr val="accent1"/>
          </a:solidFill>
        </p:spPr>
        <p:txBody>
          <a:bodyPr lIns="274320" tIns="91440"/>
          <a:lstStyle>
            <a:lvl1pPr>
              <a:spcAft>
                <a:spcPts val="1200"/>
              </a:spcAft>
              <a:tabLst>
                <a:tab pos="457200" algn="l"/>
              </a:tabLst>
              <a:defRPr sz="5400" b="0" baseline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/>
            </a:lvl2pPr>
          </a:lstStyle>
          <a:p>
            <a:pPr lvl="0"/>
            <a:r>
              <a:rPr lang="en-US"/>
              <a:t>0,000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F01FD17-7652-99C0-4EF4-C1ABF553BD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98292" y="2457450"/>
            <a:ext cx="2481263" cy="552451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600"/>
              </a:spcAft>
              <a:defRPr sz="10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ED57F60-7B48-DB96-E422-6BF4821C02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7914" y="3308287"/>
            <a:ext cx="2765424" cy="2777490"/>
          </a:xfrm>
          <a:solidFill>
            <a:srgbClr val="FFE8D4"/>
          </a:solidFill>
        </p:spPr>
        <p:txBody>
          <a:bodyPr lIns="274320" tIns="91440"/>
          <a:lstStyle>
            <a:lvl1pPr>
              <a:spcAft>
                <a:spcPts val="1200"/>
              </a:spcAft>
              <a:tabLst>
                <a:tab pos="457200" algn="l"/>
              </a:tabLst>
              <a:defRPr sz="5400" b="0" baseline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/>
            </a:lvl2pPr>
          </a:lstStyle>
          <a:p>
            <a:pPr lvl="0"/>
            <a:r>
              <a:rPr lang="en-US"/>
              <a:t>0,000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3EC6947C-841E-3FA9-114B-E3D478A0F9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0155" y="5365687"/>
            <a:ext cx="2481263" cy="552451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600"/>
              </a:spcAft>
              <a:defRPr sz="10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E2EFFE0-4881-5E4A-962D-11FF92C9F8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6051" y="3308287"/>
            <a:ext cx="2765424" cy="2777490"/>
          </a:xfrm>
          <a:solidFill>
            <a:srgbClr val="DFE3E6"/>
          </a:solidFill>
        </p:spPr>
        <p:txBody>
          <a:bodyPr lIns="274320" tIns="91440"/>
          <a:lstStyle>
            <a:lvl1pPr>
              <a:spcAft>
                <a:spcPts val="1200"/>
              </a:spcAft>
              <a:tabLst>
                <a:tab pos="457200" algn="l"/>
              </a:tabLst>
              <a:defRPr sz="5400" b="0" baseline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/>
            </a:lvl2pPr>
          </a:lstStyle>
          <a:p>
            <a:pPr lvl="0"/>
            <a:r>
              <a:rPr lang="en-US"/>
              <a:t>0,000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5905E4E-9C03-893D-2D65-9DF29B1CD2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98292" y="5365687"/>
            <a:ext cx="2481263" cy="552451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600"/>
              </a:spcAft>
              <a:defRPr sz="10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DEF9E9E-37B4-DAB9-8C1D-1576E02EB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B40D576B-0FB8-2293-FB69-1C5178F9E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5173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ACEF0AF-E2A8-B95F-9038-793C9FF94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8B33F3-7C1D-479F-3B92-0DE073C2E4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448" y="2459736"/>
            <a:ext cx="3310128" cy="969264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7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A99FF79-E280-3938-1C31-43318E483BD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7448" y="3497972"/>
            <a:ext cx="3310128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C7F8D0-E3EF-7617-C2AE-022970D36D3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47643" y="2459736"/>
            <a:ext cx="3310128" cy="969264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7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110A441-AAF8-956B-4228-2D18EE68948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47643" y="3497972"/>
            <a:ext cx="3310128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DB98D30-AF89-AE84-76DB-5252AE8FD14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087598" y="2459736"/>
            <a:ext cx="3310128" cy="969264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7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0B2565-5D1B-BDBB-F14A-0C38A487F36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087598" y="3497972"/>
            <a:ext cx="3310128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70956B3-9491-9C33-FC6E-9462B54246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11" name="Slide Number Placeholder 13">
            <a:extLst>
              <a:ext uri="{FF2B5EF4-FFF2-40B4-BE49-F238E27FC236}">
                <a16:creationId xmlns:a16="http://schemas.microsoft.com/office/drawing/2014/main" id="{D54FC496-336B-9871-8C69-A6D0113CD1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0454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5B5614F-1512-8F64-6245-6374F3844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5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8B33F3-7C1D-479F-3B92-0DE073C2E4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448" y="2459736"/>
            <a:ext cx="2396050" cy="898948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6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A99FF79-E280-3938-1C31-43318E483BD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7448" y="3499316"/>
            <a:ext cx="2378112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C7F8D0-E3EF-7617-C2AE-022970D36D3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88624" y="2459736"/>
            <a:ext cx="2396050" cy="898948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6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110A441-AAF8-956B-4228-2D18EE68948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288624" y="3499316"/>
            <a:ext cx="2378112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DB98D30-AF89-AE84-76DB-5252AE8FD14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69800" y="2459736"/>
            <a:ext cx="2396050" cy="898948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6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0B2565-5D1B-BDBB-F14A-0C38A487F36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169800" y="3499316"/>
            <a:ext cx="2378112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1C89EB2-461C-D9DB-DBF2-EA17EA40A6C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50976" y="2459736"/>
            <a:ext cx="2396050" cy="898948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6600" b="0" spc="-3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19B3672-1BF6-5E8D-DC7D-048381D269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50976" y="3499316"/>
            <a:ext cx="2378112" cy="2752344"/>
          </a:xfrm>
        </p:spPr>
        <p:txBody>
          <a:bodyPr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50DA203-9211-4FDA-05C5-46A210422A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13" name="Slide Number Placeholder 13">
            <a:extLst>
              <a:ext uri="{FF2B5EF4-FFF2-40B4-BE49-F238E27FC236}">
                <a16:creationId xmlns:a16="http://schemas.microsoft.com/office/drawing/2014/main" id="{B4612D97-4010-1226-69CD-B037A384C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499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7914" y="400050"/>
            <a:ext cx="5643562" cy="5653088"/>
          </a:xfrm>
        </p:spPr>
        <p:txBody>
          <a:bodyPr/>
          <a:lstStyle>
            <a:lvl1pPr>
              <a:spcAft>
                <a:spcPts val="1200"/>
              </a:spcAft>
              <a:defRPr sz="14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0FCB0834-B748-0F65-C02A-23EC83C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8" y="3998913"/>
            <a:ext cx="4801396" cy="1425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3">
            <a:extLst>
              <a:ext uri="{FF2B5EF4-FFF2-40B4-BE49-F238E27FC236}">
                <a16:creationId xmlns:a16="http://schemas.microsoft.com/office/drawing/2014/main" id="{83F37CB8-4B0C-85FD-979D-0EFBFDE2A1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C9C41-CB60-9C3F-4A21-4DCCF3B44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3447482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621619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9F1385C-E183-4949-1E52-945BDAAEC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8B33F3-7C1D-479F-3B92-0DE073C2E4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425" y="3495320"/>
            <a:ext cx="3719076" cy="2451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CC47810-5636-CCFE-D491-CAD999BC70CF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199063" y="1946275"/>
            <a:ext cx="5640387" cy="3992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125A049-51AB-8CE0-1E82-0861CFA1A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370151B8-84D5-0F32-8BA4-AF23D992BD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661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78DDC8F-4B6A-28FC-A391-BC1BA0319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BE205ACB-F0DD-E11C-8562-1A67F4F828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1484" y="1970667"/>
            <a:ext cx="2696610" cy="2403473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E07336A-CA43-BA10-15BC-4A7C003A234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11484" y="4513263"/>
            <a:ext cx="2752324" cy="143351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2429DBE-FCD7-24A1-1559-A263A915F0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88643" y="1970667"/>
            <a:ext cx="2696610" cy="2403473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0288663-0E16-0C59-085F-F9A84A37B9FB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288643" y="4513263"/>
            <a:ext cx="2752324" cy="143351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CD839F68-5525-1FC6-7F47-6058F961E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5802" y="1970667"/>
            <a:ext cx="2696610" cy="2403473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38614DA-316C-FC85-3F42-B262BEAC7A89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165805" y="4513263"/>
            <a:ext cx="2752324" cy="143351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AEC3DEC0-C14C-0D3D-E77D-C65F7FA10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42961" y="1970667"/>
            <a:ext cx="2696610" cy="2403473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19D1C7E-BE40-062C-9607-4651359E8EAD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50247" y="4513263"/>
            <a:ext cx="2752324" cy="143351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475B69A-CAC3-88B9-5B3E-2AF1362EFD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07859335-E39D-1388-375F-FAA342F28B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4150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78DDC8F-4B6A-28FC-A391-BC1BA0319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BE205ACB-F0DD-E11C-8562-1A67F4F828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1484" y="1442398"/>
            <a:ext cx="2696610" cy="1927865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0288663-0E16-0C59-085F-F9A84A37B9FB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288643" y="1433352"/>
            <a:ext cx="2752324" cy="192877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2429DBE-FCD7-24A1-1559-A263A915F0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11484" y="3494738"/>
            <a:ext cx="2696610" cy="1927865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1502B-FAB9-8313-90B7-D7C06363AE17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3288643" y="3495709"/>
            <a:ext cx="2752324" cy="192877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62EEDF93-D482-938D-D6D4-B8B66CA76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66924" y="1442398"/>
            <a:ext cx="2696610" cy="1927865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DF40A1F-2110-372D-0359-94789B6D9CD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49151" y="1433352"/>
            <a:ext cx="2752324" cy="192877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AA220CD4-7D0B-916C-42A1-97C04399E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166924" y="3494738"/>
            <a:ext cx="2696610" cy="1927865"/>
          </a:xfrm>
          <a:solidFill>
            <a:schemeClr val="bg1">
              <a:lumMod val="85000"/>
            </a:schemeClr>
          </a:solidFill>
        </p:spPr>
        <p:txBody>
          <a:bodyPr tIns="365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CAFF494-77C5-F797-6FAA-D4D42743AB5D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9044083" y="3495709"/>
            <a:ext cx="2752324" cy="192877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500"/>
            </a:lvl1pPr>
            <a:lvl2pPr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CE233FD-F166-12B7-E028-644C10A7A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6D9BE817-73F1-BA98-D196-7E3B7737E8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3299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E5D8444-089B-403E-0473-39C612391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915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57B29C1-93EA-1886-CD27-23CE023225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D15FEAD4-DFB9-ED08-EBEE-A4E5DE31E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898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688FCD4-650D-9754-A431-CE452572F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5" name="Slide Number Placeholder 13">
            <a:extLst>
              <a:ext uri="{FF2B5EF4-FFF2-40B4-BE49-F238E27FC236}">
                <a16:creationId xmlns:a16="http://schemas.microsoft.com/office/drawing/2014/main" id="{E49962D1-3866-8382-AE37-FC366FF574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9642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ct 2">
            <a:extLst>
              <a:ext uri="{FF2B5EF4-FFF2-40B4-BE49-F238E27FC236}">
                <a16:creationId xmlns:a16="http://schemas.microsoft.com/office/drawing/2014/main" id="{F8F99880-94B3-9D84-6F85-4EE14C59C385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EF2F32-23D2-85EF-3071-5C6939DCE4A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3658" y="1946275"/>
            <a:ext cx="6629400" cy="1482725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1200"/>
              </a:spcBef>
              <a:defRPr sz="66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69CAC8B-F77D-45CC-57A9-E9AE579594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7150" y="4823926"/>
            <a:ext cx="6604325" cy="1655540"/>
          </a:xfrm>
        </p:spPr>
        <p:txBody>
          <a:bodyPr bIns="36576" anchor="b" anchorCtr="0"/>
          <a:lstStyle>
            <a:lvl1pPr marL="0" indent="0" algn="l">
              <a:lnSpc>
                <a:spcPct val="125000"/>
              </a:lnSpc>
              <a:spcBef>
                <a:spcPts val="100"/>
              </a:spcBef>
              <a:spcAft>
                <a:spcPts val="0"/>
              </a:spcAft>
              <a:buNone/>
              <a:defRPr sz="1100" b="0"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100"/>
              </a:spcBef>
              <a:buNone/>
              <a:defRPr sz="1400" b="1">
                <a:latin typeface="+mn-lt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legal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A70850-E861-F5DA-10A1-A92566AB983E}"/>
              </a:ext>
            </a:extLst>
          </p:cNvPr>
          <p:cNvSpPr txBox="1"/>
          <p:nvPr userDrawn="1"/>
        </p:nvSpPr>
        <p:spPr>
          <a:xfrm>
            <a:off x="402431" y="6216754"/>
            <a:ext cx="987450" cy="2769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3495544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F2F32-23D2-85EF-3071-5C6939DCE4A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2431" y="1428750"/>
            <a:ext cx="8520907" cy="1933344"/>
          </a:xfrm>
        </p:spPr>
        <p:txBody>
          <a:bodyPr anchor="b" anchorCtr="0"/>
          <a:lstStyle>
            <a:lvl1pPr algn="l">
              <a:lnSpc>
                <a:spcPct val="80000"/>
              </a:lnSpc>
              <a:spcBef>
                <a:spcPts val="1200"/>
              </a:spcBef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69CAC8B-F77D-45CC-57A9-E9AE579594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2432" y="3490335"/>
            <a:ext cx="8520908" cy="1422978"/>
          </a:xfrm>
        </p:spPr>
        <p:txBody>
          <a:bodyPr/>
          <a:lstStyle>
            <a:lvl1pPr marL="0" indent="0" algn="l">
              <a:lnSpc>
                <a:spcPct val="125000"/>
              </a:lnSpc>
              <a:spcBef>
                <a:spcPts val="100"/>
              </a:spcBef>
              <a:spcAft>
                <a:spcPts val="0"/>
              </a:spcAft>
              <a:buNone/>
              <a:defRPr sz="2400" b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100"/>
              </a:spcBef>
              <a:buNone/>
              <a:defRPr sz="1400" b="1">
                <a:latin typeface="+mn-lt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A70850-E861-F5DA-10A1-A92566AB983E}"/>
              </a:ext>
            </a:extLst>
          </p:cNvPr>
          <p:cNvSpPr txBox="1"/>
          <p:nvPr userDrawn="1"/>
        </p:nvSpPr>
        <p:spPr>
          <a:xfrm>
            <a:off x="402431" y="6216754"/>
            <a:ext cx="987450" cy="2769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961864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F2F32-23D2-85EF-3071-5C6939DCE4A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2431" y="1957425"/>
            <a:ext cx="5229304" cy="2441537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1200"/>
              </a:spcBef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69CAC8B-F77D-45CC-57A9-E9AE579594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7914" y="1957425"/>
            <a:ext cx="4681536" cy="2441538"/>
          </a:xfrm>
        </p:spPr>
        <p:txBody>
          <a:bodyPr anchor="t" anchorCtr="0"/>
          <a:lstStyle>
            <a:lvl1pPr marL="0" indent="0" algn="l">
              <a:lnSpc>
                <a:spcPct val="125000"/>
              </a:lnSpc>
              <a:spcBef>
                <a:spcPts val="100"/>
              </a:spcBef>
              <a:spcAft>
                <a:spcPts val="0"/>
              </a:spcAft>
              <a:buNone/>
              <a:defRPr sz="2400" b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100"/>
              </a:spcBef>
              <a:buNone/>
              <a:defRPr sz="1400" b="1">
                <a:latin typeface="+mn-lt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A70850-E861-F5DA-10A1-A92566AB983E}"/>
              </a:ext>
            </a:extLst>
          </p:cNvPr>
          <p:cNvSpPr txBox="1"/>
          <p:nvPr userDrawn="1"/>
        </p:nvSpPr>
        <p:spPr>
          <a:xfrm>
            <a:off x="402431" y="6216754"/>
            <a:ext cx="987450" cy="2769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2563232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0978934B-5525-9236-62EF-C2B06F0BCC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13582" y="400050"/>
            <a:ext cx="11387893" cy="3484563"/>
          </a:xfr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F2F32-23D2-85EF-3071-5C6939DCE4A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3582" y="4410115"/>
            <a:ext cx="5630031" cy="1541462"/>
          </a:xfrm>
        </p:spPr>
        <p:txBody>
          <a:bodyPr anchor="t" anchorCtr="0"/>
          <a:lstStyle>
            <a:lvl1pPr algn="l">
              <a:lnSpc>
                <a:spcPct val="80000"/>
              </a:lnSpc>
              <a:spcBef>
                <a:spcPts val="1200"/>
              </a:spcBef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69CAC8B-F77D-45CC-57A9-E9AE579594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19939" y="4410114"/>
            <a:ext cx="4681536" cy="1541463"/>
          </a:xfrm>
        </p:spPr>
        <p:txBody>
          <a:bodyPr anchor="t" anchorCtr="0"/>
          <a:lstStyle>
            <a:lvl1pPr marL="0" indent="0" algn="l">
              <a:lnSpc>
                <a:spcPct val="125000"/>
              </a:lnSpc>
              <a:spcBef>
                <a:spcPts val="100"/>
              </a:spcBef>
              <a:spcAft>
                <a:spcPts val="0"/>
              </a:spcAft>
              <a:buNone/>
              <a:defRPr sz="2400" b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100"/>
              </a:spcBef>
              <a:buNone/>
              <a:defRPr sz="1400" b="1">
                <a:latin typeface="+mn-lt"/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A70850-E861-F5DA-10A1-A92566AB983E}"/>
              </a:ext>
            </a:extLst>
          </p:cNvPr>
          <p:cNvSpPr txBox="1"/>
          <p:nvPr userDrawn="1"/>
        </p:nvSpPr>
        <p:spPr>
          <a:xfrm>
            <a:off x="402431" y="6216754"/>
            <a:ext cx="987450" cy="2769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4225202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1873B9CA-C271-768C-0B16-88845540153B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0FCB0834-B748-0F65-C02A-23EC83C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7"/>
            <a:ext cx="6606383" cy="915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665" y="1946276"/>
            <a:ext cx="9482935" cy="3992562"/>
          </a:xfrm>
        </p:spPr>
        <p:txBody>
          <a:bodyPr/>
          <a:lstStyle>
            <a:lvl1pPr>
              <a:spcAft>
                <a:spcPts val="1200"/>
              </a:spcAft>
              <a:defRPr sz="1400"/>
            </a:lvl1pPr>
            <a:lvl2pPr>
              <a:defRPr sz="1200">
                <a:latin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56A229-FEBB-D152-453C-CB7311E22927}"/>
              </a:ext>
            </a:extLst>
          </p:cNvPr>
          <p:cNvSpPr txBox="1"/>
          <p:nvPr userDrawn="1"/>
        </p:nvSpPr>
        <p:spPr>
          <a:xfrm>
            <a:off x="402431" y="6216754"/>
            <a:ext cx="987450" cy="2769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wc.com</a:t>
            </a:r>
          </a:p>
        </p:txBody>
      </p:sp>
    </p:spTree>
    <p:extLst>
      <p:ext uri="{BB962C8B-B14F-4D97-AF65-F5344CB8AC3E}">
        <p14:creationId xmlns:p14="http://schemas.microsoft.com/office/powerpoint/2010/main" val="3680461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7E41F5-DD37-DB45-FC81-6078FAA35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063" y="400050"/>
            <a:ext cx="6602413" cy="5653088"/>
          </a:xfrm>
        </p:spPr>
        <p:txBody>
          <a:bodyPr/>
          <a:lstStyle>
            <a:lvl1pPr>
              <a:spcAft>
                <a:spcPts val="1200"/>
              </a:spcAft>
              <a:defRPr sz="1400"/>
            </a:lvl1pPr>
            <a:lvl2pPr>
              <a:defRPr sz="1200">
                <a:latin typeface="+mj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0FCB0834-B748-0F65-C02A-23EC83C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3998913"/>
            <a:ext cx="3840957" cy="1425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3">
            <a:extLst>
              <a:ext uri="{FF2B5EF4-FFF2-40B4-BE49-F238E27FC236}">
                <a16:creationId xmlns:a16="http://schemas.microsoft.com/office/drawing/2014/main" id="{83F37CB8-4B0C-85FD-979D-0EFBFDE2A1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C9C41-CB60-9C3F-4A21-4DCCF3B44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3447482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5518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FFE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39E65-4ABC-F7FC-FCE0-B29255497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72" y="3459958"/>
            <a:ext cx="5645841" cy="2593275"/>
          </a:xfrm>
        </p:spPr>
        <p:txBody>
          <a:bodyPr anchor="b" anchorCtr="0"/>
          <a:lstStyle>
            <a:lvl1pPr>
              <a:lnSpc>
                <a:spcPct val="80000"/>
              </a:lnSpc>
              <a:spcBef>
                <a:spcPts val="1400"/>
              </a:spcBef>
              <a:defRPr sz="4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BDD4AC-270A-4483-7315-655B46AA98C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193823" y="572408"/>
            <a:ext cx="3462095" cy="4308872"/>
          </a:xfrm>
        </p:spPr>
        <p:txBody>
          <a:bodyPr wrap="square">
            <a:spAutoFit/>
          </a:bodyPr>
          <a:lstStyle>
            <a:lvl1pPr marL="0" indent="0" algn="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A3789D3-8936-6361-B279-04482E5DA0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D2CF944E-CA0D-78C4-2738-7FF65A3C6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794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074E594-75BC-BB21-5CB5-2ECACC576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72" y="3459958"/>
            <a:ext cx="5645841" cy="2593275"/>
          </a:xfrm>
        </p:spPr>
        <p:txBody>
          <a:bodyPr anchor="b" anchorCtr="0"/>
          <a:lstStyle>
            <a:lvl1pPr>
              <a:lnSpc>
                <a:spcPct val="80000"/>
              </a:lnSpc>
              <a:spcBef>
                <a:spcPts val="1400"/>
              </a:spcBef>
              <a:defRPr sz="4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BDD4AC-270A-4483-7315-655B46AA98C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193823" y="576072"/>
            <a:ext cx="3462095" cy="4308872"/>
          </a:xfrm>
        </p:spPr>
        <p:txBody>
          <a:bodyPr wrap="square">
            <a:spAutoFit/>
          </a:bodyPr>
          <a:lstStyle>
            <a:lvl1pPr marL="0" indent="0" algn="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35000" b="0" kern="100" spc="-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843C2F-D12F-B2E4-1020-42BB1F404E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6" name="Slide Number Placeholder 13">
            <a:extLst>
              <a:ext uri="{FF2B5EF4-FFF2-40B4-BE49-F238E27FC236}">
                <a16:creationId xmlns:a16="http://schemas.microsoft.com/office/drawing/2014/main" id="{78D8C702-FC4B-D3F7-8D51-D2B3DFBA1C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783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B1E772-C81B-DFF8-44AA-0BE7FA84A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56572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41" imgH="340" progId="TCLayout.ActiveDocument.1">
                  <p:embed/>
                </p:oleObj>
              </mc:Choice>
              <mc:Fallback>
                <p:oleObj name="think-cell Slide" r:id="rId72" imgW="341" imgH="3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B1E772-C81B-DFF8-44AA-0BE7FA84A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494A4F-D3DB-0774-9A49-3731CB00A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5645946" cy="12953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6E56D0-2D08-E67F-5DF1-B3B408351D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7668" y="1953895"/>
            <a:ext cx="6606382" cy="3984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96148DB-FA68-371C-8BF4-E293FC9AF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497441"/>
            <a:ext cx="8814816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50" b="0">
                <a:solidFill>
                  <a:sysClr val="windowText" lastClr="00000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   |   Section Title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49942D6-F832-B4B1-76C2-4932E26F77DC}"/>
              </a:ext>
            </a:extLst>
          </p:cNvPr>
          <p:cNvSpPr txBox="1"/>
          <p:nvPr userDrawn="1"/>
        </p:nvSpPr>
        <p:spPr>
          <a:xfrm>
            <a:off x="394728" y="6497441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50" b="1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9" name="Slide Number Placeholder 13">
            <a:extLst>
              <a:ext uri="{FF2B5EF4-FFF2-40B4-BE49-F238E27FC236}">
                <a16:creationId xmlns:a16="http://schemas.microsoft.com/office/drawing/2014/main" id="{E24FE0F2-07AD-8A4E-A9FB-C7018A821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818" y="6501384"/>
            <a:ext cx="298209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5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E6AC032-1535-134B-A583-D5E1DDD0D1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2" name="Date Placeholder 71">
            <a:extLst>
              <a:ext uri="{FF2B5EF4-FFF2-40B4-BE49-F238E27FC236}">
                <a16:creationId xmlns:a16="http://schemas.microsoft.com/office/drawing/2014/main" id="{DAB00A56-EB9F-33C3-88B3-D8EB0A54BA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5850" y="7056786"/>
            <a:ext cx="2743200" cy="16158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058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683" r:id="rId3"/>
    <p:sldLayoutId id="2147483743" r:id="rId4"/>
    <p:sldLayoutId id="2147483744" r:id="rId5"/>
    <p:sldLayoutId id="2147483745" r:id="rId6"/>
    <p:sldLayoutId id="2147483746" r:id="rId7"/>
    <p:sldLayoutId id="2147483651" r:id="rId8"/>
    <p:sldLayoutId id="2147483659" r:id="rId9"/>
    <p:sldLayoutId id="2147483660" r:id="rId10"/>
    <p:sldLayoutId id="2147483733" r:id="rId11"/>
    <p:sldLayoutId id="2147483738" r:id="rId12"/>
    <p:sldLayoutId id="2147483739" r:id="rId13"/>
    <p:sldLayoutId id="2147483741" r:id="rId14"/>
    <p:sldLayoutId id="2147483740" r:id="rId15"/>
    <p:sldLayoutId id="2147483696" r:id="rId16"/>
    <p:sldLayoutId id="2147483697" r:id="rId17"/>
    <p:sldLayoutId id="2147483723" r:id="rId18"/>
    <p:sldLayoutId id="2147483724" r:id="rId19"/>
    <p:sldLayoutId id="2147483702" r:id="rId20"/>
    <p:sldLayoutId id="2147483684" r:id="rId21"/>
    <p:sldLayoutId id="2147483703" r:id="rId22"/>
    <p:sldLayoutId id="2147483704" r:id="rId23"/>
    <p:sldLayoutId id="2147483705" r:id="rId24"/>
    <p:sldLayoutId id="2147483685" r:id="rId25"/>
    <p:sldLayoutId id="2147483706" r:id="rId26"/>
    <p:sldLayoutId id="2147483719" r:id="rId27"/>
    <p:sldLayoutId id="2147483717" r:id="rId28"/>
    <p:sldLayoutId id="2147483718" r:id="rId29"/>
    <p:sldLayoutId id="2147483707" r:id="rId30"/>
    <p:sldLayoutId id="2147483708" r:id="rId31"/>
    <p:sldLayoutId id="2147483709" r:id="rId32"/>
    <p:sldLayoutId id="2147483686" r:id="rId33"/>
    <p:sldLayoutId id="2147483722" r:id="rId34"/>
    <p:sldLayoutId id="2147483721" r:id="rId35"/>
    <p:sldLayoutId id="2147483714" r:id="rId36"/>
    <p:sldLayoutId id="2147483710" r:id="rId37"/>
    <p:sldLayoutId id="2147483711" r:id="rId38"/>
    <p:sldLayoutId id="2147483687" r:id="rId39"/>
    <p:sldLayoutId id="2147483713" r:id="rId40"/>
    <p:sldLayoutId id="2147483662" r:id="rId41"/>
    <p:sldLayoutId id="2147483699" r:id="rId42"/>
    <p:sldLayoutId id="2147483663" r:id="rId43"/>
    <p:sldLayoutId id="2147483689" r:id="rId44"/>
    <p:sldLayoutId id="2147483664" r:id="rId45"/>
    <p:sldLayoutId id="2147483690" r:id="rId46"/>
    <p:sldLayoutId id="2147483691" r:id="rId47"/>
    <p:sldLayoutId id="2147483692" r:id="rId48"/>
    <p:sldLayoutId id="2147483671" r:id="rId49"/>
    <p:sldLayoutId id="2147483700" r:id="rId50"/>
    <p:sldLayoutId id="2147483701" r:id="rId51"/>
    <p:sldLayoutId id="2147483693" r:id="rId52"/>
    <p:sldLayoutId id="2147483694" r:id="rId53"/>
    <p:sldLayoutId id="2147483673" r:id="rId54"/>
    <p:sldLayoutId id="2147483676" r:id="rId55"/>
    <p:sldLayoutId id="2147483715" r:id="rId56"/>
    <p:sldLayoutId id="2147483716" r:id="rId57"/>
    <p:sldLayoutId id="2147483678" r:id="rId58"/>
    <p:sldLayoutId id="2147483679" r:id="rId59"/>
    <p:sldLayoutId id="2147483680" r:id="rId60"/>
    <p:sldLayoutId id="2147483666" r:id="rId61"/>
    <p:sldLayoutId id="2147483720" r:id="rId62"/>
    <p:sldLayoutId id="2147483654" r:id="rId63"/>
    <p:sldLayoutId id="2147483655" r:id="rId64"/>
    <p:sldLayoutId id="2147483681" r:id="rId65"/>
    <p:sldLayoutId id="2147483725" r:id="rId66"/>
    <p:sldLayoutId id="2147483726" r:id="rId67"/>
    <p:sldLayoutId id="2147483727" r:id="rId68"/>
    <p:sldLayoutId id="2147483742" r:id="rId6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5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171450" indent="-171450" algn="l" defTabSz="914400" rtl="0" eaLnBrk="1" latinLnBrk="0" hangingPunct="1">
        <a:lnSpc>
          <a:spcPct val="125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344488" indent="-173038" algn="l" defTabSz="914400" rtl="0" eaLnBrk="1" latinLnBrk="0" hangingPunct="1">
        <a:lnSpc>
          <a:spcPct val="125000"/>
        </a:lnSpc>
        <a:spcBef>
          <a:spcPts val="600"/>
        </a:spcBef>
        <a:buFont typeface="Georgia" panose="02040502050405020303" pitchFamily="18" charset="0"/>
        <a:buChar char="–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515938" indent="-171450" algn="l" defTabSz="914400" rtl="0" eaLnBrk="1" latinLnBrk="0" hangingPunct="1">
        <a:lnSpc>
          <a:spcPct val="125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2" userDrawn="1">
          <p15:clr>
            <a:srgbClr val="F26B43"/>
          </p15:clr>
        </p15:guide>
        <p15:guide id="3" pos="252" userDrawn="1">
          <p15:clr>
            <a:srgbClr val="F26B43"/>
          </p15:clr>
        </p15:guide>
        <p15:guide id="4" pos="7434" userDrawn="1">
          <p15:clr>
            <a:srgbClr val="F26B43"/>
          </p15:clr>
        </p15:guide>
        <p15:guide id="11" orient="horz" pos="4065" userDrawn="1">
          <p15:clr>
            <a:srgbClr val="F26B43"/>
          </p15:clr>
        </p15:guide>
        <p15:guide id="12" pos="786" userDrawn="1">
          <p15:clr>
            <a:srgbClr val="F26B43"/>
          </p15:clr>
        </p15:guide>
        <p15:guide id="13" pos="858" userDrawn="1">
          <p15:clr>
            <a:srgbClr val="F26B43"/>
          </p15:clr>
        </p15:guide>
        <p15:guide id="14" pos="1391" userDrawn="1">
          <p15:clr>
            <a:srgbClr val="F26B43"/>
          </p15:clr>
        </p15:guide>
        <p15:guide id="15" pos="1461" userDrawn="1">
          <p15:clr>
            <a:srgbClr val="F26B43"/>
          </p15:clr>
        </p15:guide>
        <p15:guide id="16" pos="1994" userDrawn="1">
          <p15:clr>
            <a:srgbClr val="F26B43"/>
          </p15:clr>
        </p15:guide>
        <p15:guide id="17" pos="2067" userDrawn="1">
          <p15:clr>
            <a:srgbClr val="F26B43"/>
          </p15:clr>
        </p15:guide>
        <p15:guide id="18" pos="2600" userDrawn="1">
          <p15:clr>
            <a:srgbClr val="F26B43"/>
          </p15:clr>
        </p15:guide>
        <p15:guide id="19" pos="2670" userDrawn="1">
          <p15:clr>
            <a:srgbClr val="F26B43"/>
          </p15:clr>
        </p15:guide>
        <p15:guide id="20" pos="3204" userDrawn="1">
          <p15:clr>
            <a:srgbClr val="F26B43"/>
          </p15:clr>
        </p15:guide>
        <p15:guide id="21" pos="3275" userDrawn="1">
          <p15:clr>
            <a:srgbClr val="F26B43"/>
          </p15:clr>
        </p15:guide>
        <p15:guide id="22" pos="3807" userDrawn="1">
          <p15:clr>
            <a:srgbClr val="F26B43"/>
          </p15:clr>
        </p15:guide>
        <p15:guide id="23" pos="3879" userDrawn="1">
          <p15:clr>
            <a:srgbClr val="F26B43"/>
          </p15:clr>
        </p15:guide>
        <p15:guide id="24" pos="4412" userDrawn="1">
          <p15:clr>
            <a:srgbClr val="F26B43"/>
          </p15:clr>
        </p15:guide>
        <p15:guide id="25" pos="5016" userDrawn="1">
          <p15:clr>
            <a:srgbClr val="F26B43"/>
          </p15:clr>
        </p15:guide>
        <p15:guide id="26" pos="4484" userDrawn="1">
          <p15:clr>
            <a:srgbClr val="F26B43"/>
          </p15:clr>
        </p15:guide>
        <p15:guide id="27" pos="5088" userDrawn="1">
          <p15:clr>
            <a:srgbClr val="F26B43"/>
          </p15:clr>
        </p15:guide>
        <p15:guide id="28" pos="5621" userDrawn="1">
          <p15:clr>
            <a:srgbClr val="F26B43"/>
          </p15:clr>
        </p15:guide>
        <p15:guide id="29" pos="5693" userDrawn="1">
          <p15:clr>
            <a:srgbClr val="F26B43"/>
          </p15:clr>
        </p15:guide>
        <p15:guide id="30" pos="6224" userDrawn="1">
          <p15:clr>
            <a:srgbClr val="F26B43"/>
          </p15:clr>
        </p15:guide>
        <p15:guide id="31" pos="6297" userDrawn="1">
          <p15:clr>
            <a:srgbClr val="F26B43"/>
          </p15:clr>
        </p15:guide>
        <p15:guide id="32" pos="6828" userDrawn="1">
          <p15:clr>
            <a:srgbClr val="F26B43"/>
          </p15:clr>
        </p15:guide>
        <p15:guide id="33" pos="6900" userDrawn="1">
          <p15:clr>
            <a:srgbClr val="F26B43"/>
          </p15:clr>
        </p15:guide>
        <p15:guide id="34" orient="horz" pos="506" userDrawn="1">
          <p15:clr>
            <a:srgbClr val="F26B43"/>
          </p15:clr>
        </p15:guide>
        <p15:guide id="35" orient="horz" pos="578" userDrawn="1">
          <p15:clr>
            <a:srgbClr val="F26B43"/>
          </p15:clr>
        </p15:guide>
        <p15:guide id="36" orient="horz" pos="830" userDrawn="1">
          <p15:clr>
            <a:srgbClr val="F26B43"/>
          </p15:clr>
        </p15:guide>
        <p15:guide id="37" orient="horz" pos="900" userDrawn="1">
          <p15:clr>
            <a:srgbClr val="F26B43"/>
          </p15:clr>
        </p15:guide>
        <p15:guide id="38" orient="horz" pos="1152" userDrawn="1">
          <p15:clr>
            <a:srgbClr val="F26B43"/>
          </p15:clr>
        </p15:guide>
        <p15:guide id="39" orient="horz" pos="1226" userDrawn="1">
          <p15:clr>
            <a:srgbClr val="F26B43"/>
          </p15:clr>
        </p15:guide>
        <p15:guide id="40" orient="horz" pos="1476" userDrawn="1">
          <p15:clr>
            <a:srgbClr val="F26B43"/>
          </p15:clr>
        </p15:guide>
        <p15:guide id="41" orient="horz" pos="1800" userDrawn="1">
          <p15:clr>
            <a:srgbClr val="F26B43"/>
          </p15:clr>
        </p15:guide>
        <p15:guide id="42" orient="horz" pos="1872" userDrawn="1">
          <p15:clr>
            <a:srgbClr val="F26B43"/>
          </p15:clr>
        </p15:guide>
        <p15:guide id="43" orient="horz" pos="2123" userDrawn="1">
          <p15:clr>
            <a:srgbClr val="F26B43"/>
          </p15:clr>
        </p15:guide>
        <p15:guide id="44" orient="horz" pos="2195" userDrawn="1">
          <p15:clr>
            <a:srgbClr val="F26B43"/>
          </p15:clr>
        </p15:guide>
        <p15:guide id="45" orient="horz" pos="2447" userDrawn="1">
          <p15:clr>
            <a:srgbClr val="F26B43"/>
          </p15:clr>
        </p15:guide>
        <p15:guide id="46" orient="horz" pos="2519" userDrawn="1">
          <p15:clr>
            <a:srgbClr val="F26B43"/>
          </p15:clr>
        </p15:guide>
        <p15:guide id="47" orient="horz" pos="2771" userDrawn="1">
          <p15:clr>
            <a:srgbClr val="F26B43"/>
          </p15:clr>
        </p15:guide>
        <p15:guide id="48" orient="horz" pos="2843" userDrawn="1">
          <p15:clr>
            <a:srgbClr val="F26B43"/>
          </p15:clr>
        </p15:guide>
        <p15:guide id="49" orient="horz" pos="3095" userDrawn="1">
          <p15:clr>
            <a:srgbClr val="F26B43"/>
          </p15:clr>
        </p15:guide>
        <p15:guide id="50" orient="horz" pos="3167" userDrawn="1">
          <p15:clr>
            <a:srgbClr val="F26B43"/>
          </p15:clr>
        </p15:guide>
        <p15:guide id="51" orient="horz" pos="3417" userDrawn="1">
          <p15:clr>
            <a:srgbClr val="F26B43"/>
          </p15:clr>
        </p15:guide>
        <p15:guide id="52" orient="horz" pos="3489" userDrawn="1">
          <p15:clr>
            <a:srgbClr val="F26B43"/>
          </p15:clr>
        </p15:guide>
        <p15:guide id="53" orient="horz" pos="3741" userDrawn="1">
          <p15:clr>
            <a:srgbClr val="F26B43"/>
          </p15:clr>
        </p15:guide>
        <p15:guide id="54" orient="horz" pos="3813" userDrawn="1">
          <p15:clr>
            <a:srgbClr val="F26B43"/>
          </p15:clr>
        </p15:guide>
        <p15:guide id="55" orient="horz" pos="15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13.xml"/><Relationship Id="rId5" Type="http://schemas.openxmlformats.org/officeDocument/2006/relationships/image" Target="../media/image33.jpeg"/><Relationship Id="rId4" Type="http://schemas.openxmlformats.org/officeDocument/2006/relationships/image" Target="../media/image32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4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10" Type="http://schemas.openxmlformats.org/officeDocument/2006/relationships/image" Target="../media/image39.svg"/><Relationship Id="rId4" Type="http://schemas.openxmlformats.org/officeDocument/2006/relationships/image" Target="../media/image1.emf"/><Relationship Id="rId9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5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1.emf"/><Relationship Id="rId9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.xml"/><Relationship Id="rId6" Type="http://schemas.openxmlformats.org/officeDocument/2006/relationships/image" Target="../media/image48.sv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1.emf"/><Relationship Id="rId9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7.xml"/><Relationship Id="rId6" Type="http://schemas.openxmlformats.org/officeDocument/2006/relationships/image" Target="../media/image55.png"/><Relationship Id="rId5" Type="http://schemas.openxmlformats.org/officeDocument/2006/relationships/hyperlink" Target="https://www.ks.no/fou-sok/2025/244026/" TargetMode="Externa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6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10" Type="http://schemas.openxmlformats.org/officeDocument/2006/relationships/image" Target="../media/image28.svg"/><Relationship Id="rId4" Type="http://schemas.openxmlformats.org/officeDocument/2006/relationships/image" Target="../media/image1.emf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8867C-3856-C0D9-DCE0-ADBD5C0B6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45858AD-4F01-F1D8-AA07-E9644ADDFF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9" imgH="408" progId="TCLayout.ActiveDocument.1">
                  <p:embed/>
                </p:oleObj>
              </mc:Choice>
              <mc:Fallback>
                <p:oleObj name="think-cell Slide" r:id="rId4" imgW="409" imgH="4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5858AD-4F01-F1D8-AA07-E9644ADDF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DBF121-4939-9A21-A839-230CC776A6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1904" y="1963495"/>
            <a:ext cx="7929296" cy="1828800"/>
          </a:xfrm>
        </p:spPr>
        <p:txBody>
          <a:bodyPr vert="horz"/>
          <a:lstStyle/>
          <a:p>
            <a:r>
              <a:rPr lang="en"/>
              <a:t>Kommunalt samarbeid </a:t>
            </a:r>
            <a:br>
              <a:rPr lang="en"/>
            </a:br>
            <a:r>
              <a:rPr lang="en"/>
              <a:t>for sterkere beredskap</a:t>
            </a:r>
            <a:endParaRPr lang="en-GB" noProof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6D45FBCF-F654-37CF-10CA-7AB40D8695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3436" y="6054487"/>
            <a:ext cx="4684447" cy="45322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Frode Singstad </a:t>
            </a:r>
            <a:r>
              <a:rPr lang="en-GB" err="1"/>
              <a:t>og</a:t>
            </a:r>
            <a:r>
              <a:rPr lang="en-GB"/>
              <a:t> Kjetil</a:t>
            </a:r>
            <a:r>
              <a:rPr lang="en-GB" noProof="0"/>
              <a:t> Birkeland </a:t>
            </a:r>
            <a:r>
              <a:rPr lang="en-GB" noProof="0" err="1"/>
              <a:t>Daatland</a:t>
            </a:r>
            <a:endParaRPr lang="en-GB" b="1" noProof="0"/>
          </a:p>
          <a:p>
            <a:r>
              <a:rPr lang="en-GB"/>
              <a:t>Arena </a:t>
            </a:r>
            <a:r>
              <a:rPr lang="en-GB" err="1"/>
              <a:t>Trøndelag</a:t>
            </a:r>
            <a:r>
              <a:rPr lang="en-GB"/>
              <a:t>, oktober 2025</a:t>
            </a:r>
            <a:endParaRPr lang="en-GB" noProof="0"/>
          </a:p>
        </p:txBody>
      </p:sp>
      <p:pic>
        <p:nvPicPr>
          <p:cNvPr id="4" name="Google Shape;1140;p163" title="ks_FoU_logo_cmyk_Black.png">
            <a:extLst>
              <a:ext uri="{FF2B5EF4-FFF2-40B4-BE49-F238E27FC236}">
                <a16:creationId xmlns:a16="http://schemas.microsoft.com/office/drawing/2014/main" id="{2085ED36-949F-66E7-CDF3-FA5F3E6E177D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249489" y="443862"/>
            <a:ext cx="972340" cy="4874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5881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1FAC73-D5FB-469F-A5FC-7A598D7F96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920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1" imgH="340" progId="TCLayout.ActiveDocument.1">
                  <p:embed/>
                </p:oleObj>
              </mc:Choice>
              <mc:Fallback>
                <p:oleObj name="think-cell Slide" r:id="rId4" imgW="341" imgH="34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1FAC73-D5FB-469F-A5FC-7A598D7F9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graph with red and grey squares&#10;&#10;AI-generated content may be incorrect.">
            <a:extLst>
              <a:ext uri="{FF2B5EF4-FFF2-40B4-BE49-F238E27FC236}">
                <a16:creationId xmlns:a16="http://schemas.microsoft.com/office/drawing/2014/main" id="{EA00AB1E-183F-D3C7-076E-50EB0A54C46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11151"/>
          <a:stretch>
            <a:fillRect/>
          </a:stretch>
        </p:blipFill>
        <p:spPr>
          <a:xfrm>
            <a:off x="4534430" y="2719388"/>
            <a:ext cx="6806142" cy="27955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4919E55-C958-2393-08F7-A417723D8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10587227" cy="915289"/>
          </a:xfrm>
        </p:spPr>
        <p:txBody>
          <a:bodyPr vert="horz"/>
          <a:lstStyle/>
          <a:p>
            <a:r>
              <a:rPr lang="nb-NO"/>
              <a:t>De fleste norske kommuner samarbeider om beredskap, men nesten 1 av 5 gjør det ikke, og Trøndelag er verst i klassen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8B30A0-2D35-9CE2-C061-855B417CC9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36E55C-9D0E-DC7E-327D-A09BD59C6F2F}"/>
              </a:ext>
            </a:extLst>
          </p:cNvPr>
          <p:cNvSpPr txBox="1"/>
          <p:nvPr/>
        </p:nvSpPr>
        <p:spPr>
          <a:xfrm>
            <a:off x="863600" y="1729472"/>
            <a:ext cx="80899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b-NO" sz="1400" i="1">
                <a:solidFill>
                  <a:schemeClr val="dk1"/>
                </a:solidFill>
              </a:rPr>
              <a:t>Samarbeider din kommune med andre kommuner om beredskap?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2814428-1650-24F4-9550-F1B34AEC69EC}"/>
              </a:ext>
            </a:extLst>
          </p:cNvPr>
          <p:cNvGrpSpPr/>
          <p:nvPr/>
        </p:nvGrpSpPr>
        <p:grpSpPr>
          <a:xfrm>
            <a:off x="5072063" y="2718987"/>
            <a:ext cx="6211887" cy="3065092"/>
            <a:chOff x="5072063" y="2718987"/>
            <a:chExt cx="6211887" cy="3065092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23CDBF3-9ED5-A2E0-246B-78483C870A7C}"/>
                </a:ext>
              </a:extLst>
            </p:cNvPr>
            <p:cNvGrpSpPr/>
            <p:nvPr/>
          </p:nvGrpSpPr>
          <p:grpSpPr>
            <a:xfrm>
              <a:off x="5072063" y="2718987"/>
              <a:ext cx="6211887" cy="2721569"/>
              <a:chOff x="5072063" y="2718987"/>
              <a:chExt cx="6211887" cy="2721569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D9DDDDE5-41C3-3B0D-1942-C683A7044529}"/>
                  </a:ext>
                </a:extLst>
              </p:cNvPr>
              <p:cNvSpPr/>
              <p:nvPr/>
            </p:nvSpPr>
            <p:spPr>
              <a:xfrm>
                <a:off x="5072063" y="2924174"/>
                <a:ext cx="6211887" cy="208777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94C6B04-B596-8C90-0C86-7BFCF99DD58D}"/>
                  </a:ext>
                </a:extLst>
              </p:cNvPr>
              <p:cNvCxnSpPr>
                <a:cxnSpLocks/>
                <a:stCxn id="46" idx="1"/>
              </p:cNvCxnSpPr>
              <p:nvPr/>
            </p:nvCxnSpPr>
            <p:spPr>
              <a:xfrm flipV="1">
                <a:off x="5072063" y="3962400"/>
                <a:ext cx="6021387" cy="5663"/>
              </a:xfrm>
              <a:prstGeom prst="line">
                <a:avLst/>
              </a:prstGeom>
              <a:ln w="6350">
                <a:solidFill>
                  <a:schemeClr val="bg2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3BA341D3-DA07-7EEA-9172-CEABA256BC16}"/>
                  </a:ext>
                </a:extLst>
              </p:cNvPr>
              <p:cNvSpPr/>
              <p:nvPr/>
            </p:nvSpPr>
            <p:spPr>
              <a:xfrm>
                <a:off x="5198818" y="2718987"/>
                <a:ext cx="2918779" cy="2721569"/>
              </a:xfrm>
              <a:prstGeom prst="roundRect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6D7FE7C-7F3D-E659-ACCA-7AC5FAC3199F}"/>
                  </a:ext>
                </a:extLst>
              </p:cNvPr>
              <p:cNvSpPr/>
              <p:nvPr/>
            </p:nvSpPr>
            <p:spPr>
              <a:xfrm>
                <a:off x="5395913" y="4431307"/>
                <a:ext cx="633412" cy="585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28%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4D83F8E3-4D16-51BF-9392-4096AEEED7B5}"/>
                  </a:ext>
                </a:extLst>
              </p:cNvPr>
              <p:cNvSpPr/>
              <p:nvPr/>
            </p:nvSpPr>
            <p:spPr>
              <a:xfrm>
                <a:off x="6363849" y="4079771"/>
                <a:ext cx="633412" cy="93990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44%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CD123B3-CCBA-79E1-9DB7-8780246DDCB6}"/>
                  </a:ext>
                </a:extLst>
              </p:cNvPr>
              <p:cNvSpPr/>
              <p:nvPr/>
            </p:nvSpPr>
            <p:spPr>
              <a:xfrm>
                <a:off x="7313614" y="4433887"/>
                <a:ext cx="633412" cy="58578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24%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6A5E026-2401-4540-2931-3D3B4E6B1FBE}"/>
                  </a:ext>
                </a:extLst>
              </p:cNvPr>
              <p:cNvSpPr/>
              <p:nvPr/>
            </p:nvSpPr>
            <p:spPr>
              <a:xfrm>
                <a:off x="8277670" y="4908730"/>
                <a:ext cx="633412" cy="11094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900" b="1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047DDD3-B215-2D5C-CFBA-FB2F4343A233}"/>
                  </a:ext>
                </a:extLst>
              </p:cNvPr>
              <p:cNvSpPr/>
              <p:nvPr/>
            </p:nvSpPr>
            <p:spPr>
              <a:xfrm>
                <a:off x="9244458" y="4891089"/>
                <a:ext cx="633412" cy="12858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900" b="1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C3F55C0-D3D3-F224-F5EB-204AAC5271BB}"/>
                  </a:ext>
                </a:extLst>
              </p:cNvPr>
              <p:cNvSpPr/>
              <p:nvPr/>
            </p:nvSpPr>
            <p:spPr>
              <a:xfrm>
                <a:off x="10204102" y="4850606"/>
                <a:ext cx="633412" cy="16906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900" b="1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A1DD2F0-9315-CDE6-3255-455CAC3EF61A}"/>
                  </a:ext>
                </a:extLst>
              </p:cNvPr>
              <p:cNvSpPr/>
              <p:nvPr/>
            </p:nvSpPr>
            <p:spPr>
              <a:xfrm>
                <a:off x="5395913" y="2924176"/>
                <a:ext cx="633412" cy="150951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72%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5A7B1E6-304D-1E49-A42A-40301AF6A510}"/>
                  </a:ext>
                </a:extLst>
              </p:cNvPr>
              <p:cNvSpPr/>
              <p:nvPr/>
            </p:nvSpPr>
            <p:spPr>
              <a:xfrm>
                <a:off x="6363849" y="2924175"/>
                <a:ext cx="633412" cy="11555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56%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3EFEBFF-2DC3-5EC2-384C-A95CEC3BECEC}"/>
                  </a:ext>
                </a:extLst>
              </p:cNvPr>
              <p:cNvSpPr/>
              <p:nvPr/>
            </p:nvSpPr>
            <p:spPr>
              <a:xfrm>
                <a:off x="7313273" y="2924175"/>
                <a:ext cx="633412" cy="150951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76%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FEF0B81-BD6D-0A6A-F5CE-B81EE6AAE4CE}"/>
                  </a:ext>
                </a:extLst>
              </p:cNvPr>
              <p:cNvSpPr/>
              <p:nvPr/>
            </p:nvSpPr>
            <p:spPr>
              <a:xfrm>
                <a:off x="8277670" y="2924174"/>
                <a:ext cx="633412" cy="20050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96%</a:t>
                </a: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r>
                  <a:rPr lang="nb-NO" sz="900" b="1"/>
                  <a:t>4%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46AF780-9A15-C497-C04D-BB0D94B6F97C}"/>
                  </a:ext>
                </a:extLst>
              </p:cNvPr>
              <p:cNvSpPr/>
              <p:nvPr/>
            </p:nvSpPr>
            <p:spPr>
              <a:xfrm>
                <a:off x="9244458" y="2924174"/>
                <a:ext cx="633412" cy="196691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94%</a:t>
                </a: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r>
                  <a:rPr lang="nb-NO" sz="900" b="1"/>
                  <a:t>6%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22DF037-CFB0-4427-3DB0-41DCFA1E5EDE}"/>
                  </a:ext>
                </a:extLst>
              </p:cNvPr>
              <p:cNvSpPr/>
              <p:nvPr/>
            </p:nvSpPr>
            <p:spPr>
              <a:xfrm>
                <a:off x="10203796" y="2930036"/>
                <a:ext cx="633412" cy="192057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nb-NO" sz="900" b="1"/>
                  <a:t>93%</a:t>
                </a: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br>
                  <a:rPr lang="nb-NO" sz="900" b="1"/>
                </a:br>
                <a:r>
                  <a:rPr lang="nb-NO" sz="900" b="1"/>
                  <a:t>7%</a:t>
                </a:r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81B9DCF1-B0DE-30C0-3B2E-1BCF7A8E1D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72063" y="5016714"/>
                <a:ext cx="6100029" cy="882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A5F49DF-41BC-4469-243B-00763FE2311B}"/>
                </a:ext>
              </a:extLst>
            </p:cNvPr>
            <p:cNvSpPr/>
            <p:nvPr/>
          </p:nvSpPr>
          <p:spPr>
            <a:xfrm>
              <a:off x="7605096" y="5624628"/>
              <a:ext cx="174378" cy="1536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nb-NO" sz="1200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E0F6D26-61D5-50F9-B2FF-49B5B16A0FD1}"/>
                </a:ext>
              </a:extLst>
            </p:cNvPr>
            <p:cNvSpPr txBox="1"/>
            <p:nvPr/>
          </p:nvSpPr>
          <p:spPr>
            <a:xfrm>
              <a:off x="7834313" y="5622802"/>
              <a:ext cx="1271587" cy="1536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nb-NO" sz="900"/>
                <a:t>Andel av respondenter som ikke har samarbeid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1A6FCC7-0269-24CD-1D2D-6C1B8131DC56}"/>
                </a:ext>
              </a:extLst>
            </p:cNvPr>
            <p:cNvSpPr/>
            <p:nvPr/>
          </p:nvSpPr>
          <p:spPr>
            <a:xfrm>
              <a:off x="5122526" y="5624628"/>
              <a:ext cx="174378" cy="1536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nb-NO" sz="1200">
                <a:solidFill>
                  <a:schemeClr val="bg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E9149EE-7427-B405-8C2D-7947E575D192}"/>
                </a:ext>
              </a:extLst>
            </p:cNvPr>
            <p:cNvSpPr txBox="1"/>
            <p:nvPr/>
          </p:nvSpPr>
          <p:spPr>
            <a:xfrm>
              <a:off x="5339404" y="5630422"/>
              <a:ext cx="1271587" cy="1536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nb-NO" sz="900"/>
                <a:t>Andel av respondenter som har samarbeid</a:t>
              </a:r>
            </a:p>
          </p:txBody>
        </p:sp>
      </p:grp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A72FF08C-E0B9-A218-FD31-CE26638451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7990666"/>
              </p:ext>
            </p:extLst>
          </p:nvPr>
        </p:nvGraphicFramePr>
        <p:xfrm>
          <a:off x="92831" y="2974213"/>
          <a:ext cx="4440255" cy="2715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01964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849364-D695-8D31-F840-B2D7DF1DCD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8557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49364-D695-8D31-F840-B2D7DF1DC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oogle Shape;2678;p211" title="Diagram">
            <a:extLst>
              <a:ext uri="{FF2B5EF4-FFF2-40B4-BE49-F238E27FC236}">
                <a16:creationId xmlns:a16="http://schemas.microsoft.com/office/drawing/2014/main" id="{8586D458-D6EA-52B2-61EB-BD8293A088D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t="13111" b="14314"/>
          <a:stretch>
            <a:fillRect/>
          </a:stretch>
        </p:blipFill>
        <p:spPr>
          <a:xfrm>
            <a:off x="6497387" y="2768423"/>
            <a:ext cx="3245601" cy="180357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072BF6B9-2586-D7AF-1A10-1522A5657EE8}"/>
              </a:ext>
            </a:extLst>
          </p:cNvPr>
          <p:cNvGrpSpPr/>
          <p:nvPr/>
        </p:nvGrpSpPr>
        <p:grpSpPr>
          <a:xfrm>
            <a:off x="1243763" y="2808183"/>
            <a:ext cx="3245601" cy="2019871"/>
            <a:chOff x="1243763" y="2808183"/>
            <a:chExt cx="3245601" cy="2019871"/>
          </a:xfrm>
        </p:grpSpPr>
        <p:pic>
          <p:nvPicPr>
            <p:cNvPr id="20" name="Google Shape;2683;p211" title="Diagram">
              <a:extLst>
                <a:ext uri="{FF2B5EF4-FFF2-40B4-BE49-F238E27FC236}">
                  <a16:creationId xmlns:a16="http://schemas.microsoft.com/office/drawing/2014/main" id="{6C2E0CF1-46F3-C89E-6EC5-2BD273ECA407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 t="14929" b="13506"/>
            <a:stretch>
              <a:fillRect/>
            </a:stretch>
          </p:blipFill>
          <p:spPr>
            <a:xfrm>
              <a:off x="1243763" y="2808183"/>
              <a:ext cx="3245601" cy="17638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B1F606-B54D-C15B-7A50-6B4AAB8340A0}"/>
                </a:ext>
              </a:extLst>
            </p:cNvPr>
            <p:cNvSpPr/>
            <p:nvPr/>
          </p:nvSpPr>
          <p:spPr>
            <a:xfrm>
              <a:off x="1619613" y="2808183"/>
              <a:ext cx="2816298" cy="16597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9FC409-7CFD-0079-9F3A-22F52C461631}"/>
                </a:ext>
              </a:extLst>
            </p:cNvPr>
            <p:cNvSpPr/>
            <p:nvPr/>
          </p:nvSpPr>
          <p:spPr>
            <a:xfrm>
              <a:off x="3021351" y="3160427"/>
              <a:ext cx="680063" cy="13075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nb-NO" sz="800" b="1">
                  <a:solidFill>
                    <a:schemeClr val="bg1"/>
                  </a:solidFill>
                </a:rPr>
                <a:t>67%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357DA05-FAC1-F68A-9C5B-CC1BFADF5F00}"/>
                </a:ext>
              </a:extLst>
            </p:cNvPr>
            <p:cNvSpPr/>
            <p:nvPr/>
          </p:nvSpPr>
          <p:spPr>
            <a:xfrm>
              <a:off x="2331336" y="3346074"/>
              <a:ext cx="680063" cy="11218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nb-NO" sz="800" b="1">
                  <a:solidFill>
                    <a:schemeClr val="bg1"/>
                  </a:solidFill>
                </a:rPr>
                <a:t>57%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B056662-7B4B-54FC-3332-21F91BF047C0}"/>
                </a:ext>
              </a:extLst>
            </p:cNvPr>
            <p:cNvCxnSpPr/>
            <p:nvPr/>
          </p:nvCxnSpPr>
          <p:spPr>
            <a:xfrm>
              <a:off x="1662113" y="4467930"/>
              <a:ext cx="2681287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FB47291-70E5-5624-A613-718D5059FE99}"/>
                </a:ext>
              </a:extLst>
            </p:cNvPr>
            <p:cNvGrpSpPr/>
            <p:nvPr/>
          </p:nvGrpSpPr>
          <p:grpSpPr>
            <a:xfrm>
              <a:off x="1521527" y="4666777"/>
              <a:ext cx="2914384" cy="161277"/>
              <a:chOff x="1521527" y="4666777"/>
              <a:chExt cx="2914384" cy="161277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E61FE2A-CB8E-693D-0286-A5B1F2359F55}"/>
                  </a:ext>
                </a:extLst>
              </p:cNvPr>
              <p:cNvSpPr/>
              <p:nvPr/>
            </p:nvSpPr>
            <p:spPr>
              <a:xfrm>
                <a:off x="3011399" y="4687653"/>
                <a:ext cx="98086" cy="864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C91D84CF-CC68-605A-80E1-905897145E64}"/>
                  </a:ext>
                </a:extLst>
              </p:cNvPr>
              <p:cNvSpPr/>
              <p:nvPr/>
            </p:nvSpPr>
            <p:spPr>
              <a:xfrm>
                <a:off x="1521527" y="4687653"/>
                <a:ext cx="98086" cy="864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42E9E33-1A3E-C205-4F1F-6C2B57F1E84C}"/>
                  </a:ext>
                </a:extLst>
              </p:cNvPr>
              <p:cNvSpPr txBox="1"/>
              <p:nvPr/>
            </p:nvSpPr>
            <p:spPr>
              <a:xfrm>
                <a:off x="1662113" y="4674397"/>
                <a:ext cx="1271587" cy="1536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l"/>
                <a:r>
                  <a:rPr lang="nb-NO" sz="800"/>
                  <a:t>Ikke-formaliserte samarbeid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BEA5542-563F-F58C-E6F1-FE451FA264AB}"/>
                  </a:ext>
                </a:extLst>
              </p:cNvPr>
              <p:cNvSpPr txBox="1"/>
              <p:nvPr/>
            </p:nvSpPr>
            <p:spPr>
              <a:xfrm>
                <a:off x="3164324" y="4666777"/>
                <a:ext cx="1271587" cy="1536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l"/>
                <a:r>
                  <a:rPr lang="nb-NO" sz="800"/>
                  <a:t>Formaliserte samarbeid</a:t>
                </a: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30C31B-20B2-4BB0-D028-A542CE78C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967563" cy="915289"/>
          </a:xfrm>
        </p:spPr>
        <p:txBody>
          <a:bodyPr vert="horz"/>
          <a:lstStyle/>
          <a:p>
            <a:r>
              <a:rPr lang="en-US" err="1"/>
              <a:t>Samarbeidene</a:t>
            </a:r>
            <a:r>
              <a:rPr lang="en-US"/>
              <a:t> </a:t>
            </a:r>
            <a:r>
              <a:rPr lang="en-US" err="1"/>
              <a:t>har</a:t>
            </a:r>
            <a:r>
              <a:rPr lang="en-US"/>
              <a:t> </a:t>
            </a:r>
            <a:r>
              <a:rPr lang="en-US" err="1"/>
              <a:t>effekt</a:t>
            </a:r>
            <a:r>
              <a:rPr lang="en-US"/>
              <a:t>, </a:t>
            </a:r>
            <a:r>
              <a:rPr lang="en"/>
              <a:t>og formaliserte samarbeid oppleves å gi bedre effekt enn ikke-formaliserte samarbeid</a:t>
            </a:r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28258E-125F-7D11-CD16-456D820C5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A83249-8FDC-FBF9-87D4-56D4A6F1C90F}"/>
              </a:ext>
            </a:extLst>
          </p:cNvPr>
          <p:cNvSpPr/>
          <p:nvPr/>
        </p:nvSpPr>
        <p:spPr>
          <a:xfrm>
            <a:off x="498895" y="5650787"/>
            <a:ext cx="10741034" cy="6349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sz="1400">
                <a:solidFill>
                  <a:schemeClr val="tx1"/>
                </a:solidFill>
                <a:latin typeface="Georgia"/>
              </a:rPr>
              <a:t>Jo mindre og mindre sentral kommune, jo </a:t>
            </a:r>
            <a:r>
              <a:rPr lang="en" sz="1400" b="1">
                <a:solidFill>
                  <a:schemeClr val="accent1"/>
                </a:solidFill>
                <a:latin typeface="Georgia"/>
              </a:rPr>
              <a:t>større opplevd effekt </a:t>
            </a:r>
            <a:r>
              <a:rPr lang="en" sz="1400">
                <a:solidFill>
                  <a:schemeClr val="tx1"/>
                </a:solidFill>
                <a:latin typeface="Georgia"/>
              </a:rPr>
              <a:t>av at samarbeidene er formalisert</a:t>
            </a:r>
            <a:endParaRPr lang="en-US" sz="1400">
              <a:solidFill>
                <a:schemeClr val="tx1"/>
              </a:solidFill>
              <a:latin typeface="Georgia"/>
            </a:endParaRPr>
          </a:p>
        </p:txBody>
      </p:sp>
      <p:sp>
        <p:nvSpPr>
          <p:cNvPr id="19" name="Google Shape;2676;p211">
            <a:extLst>
              <a:ext uri="{FF2B5EF4-FFF2-40B4-BE49-F238E27FC236}">
                <a16:creationId xmlns:a16="http://schemas.microsoft.com/office/drawing/2014/main" id="{2586B524-B920-13DC-7922-5C1399FF1935}"/>
              </a:ext>
            </a:extLst>
          </p:cNvPr>
          <p:cNvSpPr/>
          <p:nvPr/>
        </p:nvSpPr>
        <p:spPr>
          <a:xfrm>
            <a:off x="1323763" y="2275808"/>
            <a:ext cx="2982900" cy="2742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000">
                <a:solidFill>
                  <a:schemeClr val="dk1"/>
                </a:solidFill>
              </a:rPr>
              <a:t>Andel av samarbeid som vurderer effekt som </a:t>
            </a:r>
            <a:r>
              <a:rPr lang="en" sz="1000" b="1">
                <a:solidFill>
                  <a:schemeClr val="dk1"/>
                </a:solidFill>
              </a:rPr>
              <a:t>stor eller svært stor</a:t>
            </a:r>
            <a:r>
              <a:rPr lang="en" sz="1000">
                <a:solidFill>
                  <a:schemeClr val="dk1"/>
                </a:solidFill>
              </a:rPr>
              <a:t> på </a:t>
            </a:r>
            <a:r>
              <a:rPr lang="en" sz="1000" b="1" i="1">
                <a:solidFill>
                  <a:schemeClr val="dk1"/>
                </a:solidFill>
              </a:rPr>
              <a:t>evne til forebygging</a:t>
            </a:r>
            <a:r>
              <a:rPr lang="en" sz="1000" i="1">
                <a:solidFill>
                  <a:schemeClr val="dk1"/>
                </a:solidFill>
              </a:rPr>
              <a:t> </a:t>
            </a:r>
            <a:endParaRPr sz="1000" i="1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>
              <a:solidFill>
                <a:schemeClr val="dk1"/>
              </a:solidFill>
            </a:endParaRPr>
          </a:p>
        </p:txBody>
      </p:sp>
      <p:sp>
        <p:nvSpPr>
          <p:cNvPr id="21" name="Google Shape;2677;p211">
            <a:extLst>
              <a:ext uri="{FF2B5EF4-FFF2-40B4-BE49-F238E27FC236}">
                <a16:creationId xmlns:a16="http://schemas.microsoft.com/office/drawing/2014/main" id="{602158AE-A034-FCDB-51E2-DD179EEAD83B}"/>
              </a:ext>
            </a:extLst>
          </p:cNvPr>
          <p:cNvSpPr/>
          <p:nvPr/>
        </p:nvSpPr>
        <p:spPr>
          <a:xfrm>
            <a:off x="6757256" y="2275808"/>
            <a:ext cx="2927400" cy="2742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000">
                <a:solidFill>
                  <a:schemeClr val="dk1"/>
                </a:solidFill>
              </a:rPr>
              <a:t>Andel av samarbeid som vurderer effekt som </a:t>
            </a:r>
            <a:r>
              <a:rPr lang="en" sz="1000" b="1">
                <a:solidFill>
                  <a:schemeClr val="dk1"/>
                </a:solidFill>
              </a:rPr>
              <a:t>stor eller svært stor</a:t>
            </a:r>
            <a:r>
              <a:rPr lang="en" sz="1000">
                <a:solidFill>
                  <a:schemeClr val="dk1"/>
                </a:solidFill>
              </a:rPr>
              <a:t> på </a:t>
            </a:r>
            <a:r>
              <a:rPr lang="en" sz="1000" b="1" i="1">
                <a:solidFill>
                  <a:schemeClr val="dk1"/>
                </a:solidFill>
              </a:rPr>
              <a:t>evne til håndtering</a:t>
            </a:r>
            <a:r>
              <a:rPr lang="en" sz="1000" i="1">
                <a:solidFill>
                  <a:schemeClr val="dk1"/>
                </a:solidFill>
              </a:rPr>
              <a:t> </a:t>
            </a:r>
            <a:endParaRPr sz="1000" i="1">
              <a:solidFill>
                <a:schemeClr val="dk1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5711F20-1516-5A60-FDE2-2805488B4925}"/>
              </a:ext>
            </a:extLst>
          </p:cNvPr>
          <p:cNvGrpSpPr/>
          <p:nvPr/>
        </p:nvGrpSpPr>
        <p:grpSpPr>
          <a:xfrm>
            <a:off x="6893627" y="2817248"/>
            <a:ext cx="2914384" cy="2037473"/>
            <a:chOff x="6893627" y="2817248"/>
            <a:chExt cx="2914384" cy="203747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A56BDC-3288-8C57-8771-EC6BABE7BE66}"/>
                </a:ext>
              </a:extLst>
            </p:cNvPr>
            <p:cNvSpPr/>
            <p:nvPr/>
          </p:nvSpPr>
          <p:spPr>
            <a:xfrm>
              <a:off x="6933104" y="2817248"/>
              <a:ext cx="2858544" cy="16597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F21FF52-1088-5992-D029-04AB8D963110}"/>
                </a:ext>
              </a:extLst>
            </p:cNvPr>
            <p:cNvGrpSpPr/>
            <p:nvPr/>
          </p:nvGrpSpPr>
          <p:grpSpPr>
            <a:xfrm>
              <a:off x="6893627" y="4693444"/>
              <a:ext cx="2914384" cy="161277"/>
              <a:chOff x="1521527" y="4666777"/>
              <a:chExt cx="2914384" cy="161277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AF7D6BB-64D5-CB38-8929-BF0486036689}"/>
                  </a:ext>
                </a:extLst>
              </p:cNvPr>
              <p:cNvSpPr/>
              <p:nvPr/>
            </p:nvSpPr>
            <p:spPr>
              <a:xfrm>
                <a:off x="3011399" y="4687653"/>
                <a:ext cx="98086" cy="864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093F3A8-3E14-A2EC-A737-604FFA312A0B}"/>
                  </a:ext>
                </a:extLst>
              </p:cNvPr>
              <p:cNvSpPr/>
              <p:nvPr/>
            </p:nvSpPr>
            <p:spPr>
              <a:xfrm>
                <a:off x="1521527" y="4687653"/>
                <a:ext cx="98086" cy="8643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nb-NO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6A768905-CD18-FE8D-67CF-098CDED64D66}"/>
                  </a:ext>
                </a:extLst>
              </p:cNvPr>
              <p:cNvSpPr txBox="1"/>
              <p:nvPr/>
            </p:nvSpPr>
            <p:spPr>
              <a:xfrm>
                <a:off x="1662113" y="4674397"/>
                <a:ext cx="1271587" cy="1536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l"/>
                <a:r>
                  <a:rPr lang="nb-NO" sz="800"/>
                  <a:t>Ikke-formaliserte samarbeid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32AD9DF-80AE-4698-A7CD-144F099645EC}"/>
                  </a:ext>
                </a:extLst>
              </p:cNvPr>
              <p:cNvSpPr txBox="1"/>
              <p:nvPr/>
            </p:nvSpPr>
            <p:spPr>
              <a:xfrm>
                <a:off x="3164324" y="4666777"/>
                <a:ext cx="1271587" cy="1536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l"/>
                <a:r>
                  <a:rPr lang="nb-NO" sz="800"/>
                  <a:t>Formaliserte samarbeid</a:t>
                </a: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151B790-D186-78D5-3644-8031F5794F13}"/>
                </a:ext>
              </a:extLst>
            </p:cNvPr>
            <p:cNvSpPr/>
            <p:nvPr/>
          </p:nvSpPr>
          <p:spPr>
            <a:xfrm>
              <a:off x="8283908" y="3086101"/>
              <a:ext cx="647272" cy="14110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nb-NO" sz="800" b="1">
                  <a:solidFill>
                    <a:schemeClr val="bg1"/>
                  </a:solidFill>
                </a:rPr>
                <a:t>70%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57AE091-6F2E-C6BD-C05E-EE51F768153D}"/>
                </a:ext>
              </a:extLst>
            </p:cNvPr>
            <p:cNvSpPr/>
            <p:nvPr/>
          </p:nvSpPr>
          <p:spPr>
            <a:xfrm>
              <a:off x="7624143" y="3508191"/>
              <a:ext cx="647272" cy="9889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nb-NO" sz="800" b="1">
                  <a:solidFill>
                    <a:schemeClr val="bg1"/>
                  </a:solidFill>
                </a:rPr>
                <a:t>48%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455E54E-AD4A-B226-4EC5-72C8F681A460}"/>
                </a:ext>
              </a:extLst>
            </p:cNvPr>
            <p:cNvCxnSpPr/>
            <p:nvPr/>
          </p:nvCxnSpPr>
          <p:spPr>
            <a:xfrm>
              <a:off x="6933104" y="4497158"/>
              <a:ext cx="2681287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7401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ABEE1-D45C-1822-4F0C-0A172D9F9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FE2E8CF-BA94-AA29-B193-6523BDCAC5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493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E2E8CF-BA94-AA29-B193-6523BDCAC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A5810A9C-4524-02D8-1B0F-BE514A6DE973}"/>
              </a:ext>
            </a:extLst>
          </p:cNvPr>
          <p:cNvSpPr/>
          <p:nvPr/>
        </p:nvSpPr>
        <p:spPr>
          <a:xfrm>
            <a:off x="397667" y="1925790"/>
            <a:ext cx="11404356" cy="3529787"/>
          </a:xfrm>
          <a:prstGeom prst="rect">
            <a:avLst/>
          </a:prstGeom>
          <a:solidFill>
            <a:srgbClr val="FFE8D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568D5B-238F-F926-F39D-5FC218810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10869350" cy="915289"/>
          </a:xfrm>
        </p:spPr>
        <p:txBody>
          <a:bodyPr vert="horz"/>
          <a:lstStyle/>
          <a:p>
            <a:r>
              <a:rPr lang="nb-NO"/>
              <a:t>...samtidig er en relativt stor andel av samarbeidene ikke formalise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15B902-F3FC-7754-E384-20DE2CA770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293CC75-1C72-9825-7959-FF41838DD2EE}"/>
              </a:ext>
            </a:extLst>
          </p:cNvPr>
          <p:cNvGrpSpPr/>
          <p:nvPr/>
        </p:nvGrpSpPr>
        <p:grpSpPr>
          <a:xfrm>
            <a:off x="2224233" y="2273300"/>
            <a:ext cx="6791843" cy="2888450"/>
            <a:chOff x="2224233" y="2273300"/>
            <a:chExt cx="6791843" cy="288845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8F0E4DA-9416-6EC5-8C11-E827A7501F26}"/>
                </a:ext>
              </a:extLst>
            </p:cNvPr>
            <p:cNvSpPr/>
            <p:nvPr/>
          </p:nvSpPr>
          <p:spPr>
            <a:xfrm>
              <a:off x="4832350" y="2370976"/>
              <a:ext cx="3581400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2DF6D10-3E9A-7EFF-E03E-21CAB28BB379}"/>
                </a:ext>
              </a:extLst>
            </p:cNvPr>
            <p:cNvSpPr/>
            <p:nvPr/>
          </p:nvSpPr>
          <p:spPr>
            <a:xfrm>
              <a:off x="4832350" y="2692400"/>
              <a:ext cx="2311400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15B081D-CA35-3AB6-BF03-F3D59B4F62D8}"/>
                </a:ext>
              </a:extLst>
            </p:cNvPr>
            <p:cNvSpPr/>
            <p:nvPr/>
          </p:nvSpPr>
          <p:spPr>
            <a:xfrm>
              <a:off x="4832350" y="3003550"/>
              <a:ext cx="1009650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BED21B4-798A-D47D-28A7-8D9D7CC98C10}"/>
                </a:ext>
              </a:extLst>
            </p:cNvPr>
            <p:cNvSpPr/>
            <p:nvPr/>
          </p:nvSpPr>
          <p:spPr>
            <a:xfrm>
              <a:off x="4832350" y="3314700"/>
              <a:ext cx="838200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2708E93-773B-6503-9F2B-4D31E0822050}"/>
                </a:ext>
              </a:extLst>
            </p:cNvPr>
            <p:cNvSpPr/>
            <p:nvPr/>
          </p:nvSpPr>
          <p:spPr>
            <a:xfrm>
              <a:off x="4830617" y="3615576"/>
              <a:ext cx="770083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2B8CC8-93EE-9BE2-FB91-A891A587FE6C}"/>
                </a:ext>
              </a:extLst>
            </p:cNvPr>
            <p:cNvSpPr/>
            <p:nvPr/>
          </p:nvSpPr>
          <p:spPr>
            <a:xfrm>
              <a:off x="4830617" y="3937000"/>
              <a:ext cx="700234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04322A4-2245-16B6-DC33-7DC1FCFF0853}"/>
                </a:ext>
              </a:extLst>
            </p:cNvPr>
            <p:cNvSpPr/>
            <p:nvPr/>
          </p:nvSpPr>
          <p:spPr>
            <a:xfrm>
              <a:off x="4830617" y="4238225"/>
              <a:ext cx="122383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F81782-E5E8-3521-3BBE-21D4BAD13448}"/>
                </a:ext>
              </a:extLst>
            </p:cNvPr>
            <p:cNvSpPr/>
            <p:nvPr/>
          </p:nvSpPr>
          <p:spPr>
            <a:xfrm>
              <a:off x="4830616" y="4559300"/>
              <a:ext cx="122383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ABF7B8A-D076-4790-D686-499A145C540C}"/>
                </a:ext>
              </a:extLst>
            </p:cNvPr>
            <p:cNvSpPr/>
            <p:nvPr/>
          </p:nvSpPr>
          <p:spPr>
            <a:xfrm>
              <a:off x="4830615" y="4860525"/>
              <a:ext cx="122383" cy="2095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3883CD4-8F04-EE75-D16B-E0485989FFF9}"/>
                </a:ext>
              </a:extLst>
            </p:cNvPr>
            <p:cNvCxnSpPr/>
            <p:nvPr/>
          </p:nvCxnSpPr>
          <p:spPr>
            <a:xfrm>
              <a:off x="4824265" y="2273300"/>
              <a:ext cx="0" cy="288845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2A8340C-4923-64E1-AAE0-FC16D5E12FA8}"/>
                </a:ext>
              </a:extLst>
            </p:cNvPr>
            <p:cNvSpPr txBox="1"/>
            <p:nvPr/>
          </p:nvSpPr>
          <p:spPr>
            <a:xfrm>
              <a:off x="2224241" y="2391524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Samarbeidet er ikke formaliser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1BCBBA6-7604-F6BB-158E-3FEC54DB0A32}"/>
                </a:ext>
              </a:extLst>
            </p:cNvPr>
            <p:cNvSpPr txBox="1"/>
            <p:nvPr/>
          </p:nvSpPr>
          <p:spPr>
            <a:xfrm>
              <a:off x="2224240" y="2707311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Annet avtalebasert samarbeid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D5F2697-1148-9178-2DE9-CB9420EA1C0C}"/>
                </a:ext>
              </a:extLst>
            </p:cNvPr>
            <p:cNvSpPr txBox="1"/>
            <p:nvPr/>
          </p:nvSpPr>
          <p:spPr>
            <a:xfrm>
              <a:off x="2224239" y="3024098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Vertskommunesamarbeid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207B6A4-A28E-9C79-4E6B-38AA967981FA}"/>
                </a:ext>
              </a:extLst>
            </p:cNvPr>
            <p:cNvSpPr txBox="1"/>
            <p:nvPr/>
          </p:nvSpPr>
          <p:spPr>
            <a:xfrm>
              <a:off x="2224238" y="3344773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Annet samarbeid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F00E63A-ACCF-B0CE-A38A-15F4D99F6607}"/>
                </a:ext>
              </a:extLst>
            </p:cNvPr>
            <p:cNvSpPr txBox="1"/>
            <p:nvPr/>
          </p:nvSpPr>
          <p:spPr>
            <a:xfrm>
              <a:off x="2224237" y="3644151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Kommunalt oppgavefellesskap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D5C9014-CE16-F2DA-B373-984B43DC6B16}"/>
                </a:ext>
              </a:extLst>
            </p:cNvPr>
            <p:cNvSpPr txBox="1"/>
            <p:nvPr/>
          </p:nvSpPr>
          <p:spPr>
            <a:xfrm>
              <a:off x="2224236" y="3950664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IK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DF68178-A592-9A4D-FBD2-6E3CADD15946}"/>
                </a:ext>
              </a:extLst>
            </p:cNvPr>
            <p:cNvSpPr txBox="1"/>
            <p:nvPr/>
          </p:nvSpPr>
          <p:spPr>
            <a:xfrm>
              <a:off x="2224235" y="4255991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IPR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D58AF8-8429-0843-2C4D-2B789D6F5F34}"/>
                </a:ext>
              </a:extLst>
            </p:cNvPr>
            <p:cNvSpPr txBox="1"/>
            <p:nvPr/>
          </p:nvSpPr>
          <p:spPr>
            <a:xfrm>
              <a:off x="2224234" y="4572361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Vet ikke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A375641-5AE6-BDFB-020D-CC6342108E31}"/>
                </a:ext>
              </a:extLst>
            </p:cNvPr>
            <p:cNvSpPr txBox="1"/>
            <p:nvPr/>
          </p:nvSpPr>
          <p:spPr>
            <a:xfrm>
              <a:off x="2224233" y="4877688"/>
              <a:ext cx="2520017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nb-NO" sz="1100"/>
                <a:t>A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7F8EA4B-2E7C-8DE5-3E15-F2129FE22806}"/>
                </a:ext>
              </a:extLst>
            </p:cNvPr>
            <p:cNvSpPr txBox="1"/>
            <p:nvPr/>
          </p:nvSpPr>
          <p:spPr>
            <a:xfrm>
              <a:off x="8558373" y="2370976"/>
              <a:ext cx="457703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37 %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56EF8F6-672E-0C65-49CB-C65439BD0052}"/>
                </a:ext>
              </a:extLst>
            </p:cNvPr>
            <p:cNvSpPr txBox="1"/>
            <p:nvPr/>
          </p:nvSpPr>
          <p:spPr>
            <a:xfrm>
              <a:off x="7306641" y="2692400"/>
              <a:ext cx="457703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24 %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8EFE5DF-FFFE-DB53-12C0-B72CBAC7BBEA}"/>
                </a:ext>
              </a:extLst>
            </p:cNvPr>
            <p:cNvSpPr txBox="1"/>
            <p:nvPr/>
          </p:nvSpPr>
          <p:spPr>
            <a:xfrm>
              <a:off x="5973943" y="3013824"/>
              <a:ext cx="457703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10 %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D86F11E-3A1C-09A1-868B-58B6CECBF3A9}"/>
                </a:ext>
              </a:extLst>
            </p:cNvPr>
            <p:cNvSpPr txBox="1"/>
            <p:nvPr/>
          </p:nvSpPr>
          <p:spPr>
            <a:xfrm>
              <a:off x="5756591" y="3306071"/>
              <a:ext cx="457703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9 %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E7EF50A-66F6-3169-8176-B9AD2F93FB0F}"/>
                </a:ext>
              </a:extLst>
            </p:cNvPr>
            <p:cNvSpPr txBox="1"/>
            <p:nvPr/>
          </p:nvSpPr>
          <p:spPr>
            <a:xfrm>
              <a:off x="5670550" y="3593886"/>
              <a:ext cx="457703" cy="209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8 %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C125D59-D288-4254-592F-36EE2A299BA9}"/>
                </a:ext>
              </a:extLst>
            </p:cNvPr>
            <p:cNvSpPr txBox="1"/>
            <p:nvPr/>
          </p:nvSpPr>
          <p:spPr>
            <a:xfrm>
              <a:off x="5607335" y="3950849"/>
              <a:ext cx="554184" cy="2043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7 %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9D0B8EC-569A-2FB3-DB43-E50ECD14E85C}"/>
                </a:ext>
              </a:extLst>
            </p:cNvPr>
            <p:cNvSpPr txBox="1"/>
            <p:nvPr/>
          </p:nvSpPr>
          <p:spPr>
            <a:xfrm>
              <a:off x="5060083" y="4276656"/>
              <a:ext cx="554184" cy="2043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1 %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E6330DE-45B1-AF41-8524-DE8079E4B7AC}"/>
                </a:ext>
              </a:extLst>
            </p:cNvPr>
            <p:cNvSpPr txBox="1"/>
            <p:nvPr/>
          </p:nvSpPr>
          <p:spPr>
            <a:xfrm>
              <a:off x="5060083" y="4584627"/>
              <a:ext cx="554184" cy="2043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1 %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29D80EB-7AE8-E0DF-CCF7-644777CEA62E}"/>
                </a:ext>
              </a:extLst>
            </p:cNvPr>
            <p:cNvSpPr txBox="1"/>
            <p:nvPr/>
          </p:nvSpPr>
          <p:spPr>
            <a:xfrm>
              <a:off x="5060083" y="4880332"/>
              <a:ext cx="554184" cy="2043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nb-NO" sz="1100"/>
                <a:t>1 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553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D4A0341-56E3-92E2-3DF6-BA09F5EEF9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31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4A0341-56E3-92E2-3DF6-BA09F5EEF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813BB06-3684-56E2-FD87-ECFC41A882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Alle trenger ikke være eksperter på alt!</a:t>
            </a:r>
          </a:p>
        </p:txBody>
      </p:sp>
      <p:pic>
        <p:nvPicPr>
          <p:cNvPr id="14" name="Picture Placeholder 13" descr="Several drones flying over a rock&#10;&#10;AI-generated content may be incorrect.">
            <a:extLst>
              <a:ext uri="{FF2B5EF4-FFF2-40B4-BE49-F238E27FC236}">
                <a16:creationId xmlns:a16="http://schemas.microsoft.com/office/drawing/2014/main" id="{A83ECE04-BF68-9305-6008-792BBDCD7E4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/>
          <a:srcRect l="8406" r="8406"/>
          <a:stretch>
            <a:fillRect/>
          </a:stretch>
        </p:blipFill>
        <p:spPr/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CCF04ED-4212-980A-FC7F-212BA16B26DA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err="1"/>
              <a:t>Effektive</a:t>
            </a:r>
            <a:r>
              <a:rPr lang="en-US"/>
              <a:t> </a:t>
            </a:r>
            <a:r>
              <a:rPr lang="en-US" err="1"/>
              <a:t>samarbeid</a:t>
            </a:r>
            <a:r>
              <a:rPr lang="en-US"/>
              <a:t> </a:t>
            </a:r>
            <a:r>
              <a:rPr lang="en-US" err="1"/>
              <a:t>drar</a:t>
            </a:r>
            <a:r>
              <a:rPr lang="en-US"/>
              <a:t> </a:t>
            </a:r>
            <a:r>
              <a:rPr lang="en-US" err="1"/>
              <a:t>nytte</a:t>
            </a:r>
            <a:r>
              <a:rPr lang="en-US"/>
              <a:t> av </a:t>
            </a:r>
            <a:r>
              <a:rPr lang="en-US" err="1"/>
              <a:t>kommunenes</a:t>
            </a:r>
            <a:r>
              <a:rPr lang="en-US"/>
              <a:t> </a:t>
            </a:r>
            <a:r>
              <a:rPr lang="en-US" err="1"/>
              <a:t>styrker</a:t>
            </a:r>
            <a:r>
              <a:rPr lang="en-US"/>
              <a:t>,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kompenserer</a:t>
            </a:r>
            <a:r>
              <a:rPr lang="en-US"/>
              <a:t> for </a:t>
            </a:r>
            <a:r>
              <a:rPr lang="en-US" err="1"/>
              <a:t>svakheter</a:t>
            </a:r>
            <a:r>
              <a:rPr lang="en-US"/>
              <a:t> </a:t>
            </a:r>
            <a:endParaRPr lang="en-US" sz="1500"/>
          </a:p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5DCE8C-0F79-70C8-2DCB-D76D79FA0E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420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F6A0A73-AA30-E344-884A-B4F422D9C4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8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A0A73-AA30-E344-884A-B4F422D9C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8BD607-0EED-CA2E-A064-EF247DF3E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568783" cy="915289"/>
          </a:xfrm>
          <a:ln>
            <a:noFill/>
          </a:ln>
        </p:spPr>
        <p:txBody>
          <a:bodyPr vert="horz"/>
          <a:lstStyle/>
          <a:p>
            <a:r>
              <a:rPr lang="nb-NO"/>
              <a:t>Koordinering </a:t>
            </a:r>
            <a:r>
              <a:rPr lang="nb-NO">
                <a:solidFill>
                  <a:schemeClr val="accent1"/>
                </a:solidFill>
              </a:rPr>
              <a:t>på tvers av tre nivåer</a:t>
            </a:r>
            <a:r>
              <a:rPr lang="nb-NO"/>
              <a:t> kan være en kritisk suksessfakto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5B05EEE-299A-C0DE-0A9E-57B6FF607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307F6340-4480-C0FC-FE4B-135BE0616D41}"/>
              </a:ext>
            </a:extLst>
          </p:cNvPr>
          <p:cNvSpPr txBox="1">
            <a:spLocks/>
          </p:cNvSpPr>
          <p:nvPr/>
        </p:nvSpPr>
        <p:spPr>
          <a:xfrm>
            <a:off x="2162138" y="2195513"/>
            <a:ext cx="3711612" cy="544831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 </a:t>
            </a:r>
            <a:r>
              <a:rPr lang="en-GB" err="1"/>
              <a:t>Politisk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EF1C4F91-84A1-9ACB-42BA-7A5818453A53}"/>
              </a:ext>
            </a:extLst>
          </p:cNvPr>
          <p:cNvSpPr txBox="1">
            <a:spLocks/>
          </p:cNvSpPr>
          <p:nvPr/>
        </p:nvSpPr>
        <p:spPr>
          <a:xfrm>
            <a:off x="2162138" y="3728721"/>
            <a:ext cx="3711612" cy="544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err="1"/>
              <a:t>Administrativ</a:t>
            </a:r>
            <a:r>
              <a:rPr lang="en-GB"/>
              <a:t> </a:t>
            </a:r>
            <a:r>
              <a:rPr lang="en-GB" err="1"/>
              <a:t>ledelse</a:t>
            </a:r>
            <a:endParaRPr lang="en-GB"/>
          </a:p>
          <a:p>
            <a:endParaRPr lang="en-GB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5F15E04B-8B90-7908-74B1-51B9A19734A6}"/>
              </a:ext>
            </a:extLst>
          </p:cNvPr>
          <p:cNvSpPr txBox="1">
            <a:spLocks/>
          </p:cNvSpPr>
          <p:nvPr/>
        </p:nvSpPr>
        <p:spPr>
          <a:xfrm>
            <a:off x="2162138" y="5269231"/>
            <a:ext cx="3711612" cy="49656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44488" indent="-173038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Georgia" panose="02040502050405020303" pitchFamily="18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515938" indent="-171450" algn="l" defTabSz="914400" rtl="0" eaLnBrk="1" latinLnBrk="0" hangingPunct="1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err="1"/>
              <a:t>Fagressurser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86BF385-17CB-FCA0-A2F4-5DFCD07EBB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322" y="1779556"/>
            <a:ext cx="1143000" cy="11430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F947E35-9326-44A3-61C8-82186534F9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6622" y="3481273"/>
            <a:ext cx="914400" cy="9144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0E6FEB44-C8F3-6367-CF5F-E74C9CEB01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6622" y="5006810"/>
            <a:ext cx="914400" cy="914400"/>
          </a:xfrm>
          <a:prstGeom prst="rect">
            <a:avLst/>
          </a:prstGeom>
        </p:spPr>
      </p:pic>
      <p:sp>
        <p:nvSpPr>
          <p:cNvPr id="3" name="Right Brace 2">
            <a:extLst>
              <a:ext uri="{FF2B5EF4-FFF2-40B4-BE49-F238E27FC236}">
                <a16:creationId xmlns:a16="http://schemas.microsoft.com/office/drawing/2014/main" id="{0F7A8811-5A98-A024-463D-784757D56986}"/>
              </a:ext>
            </a:extLst>
          </p:cNvPr>
          <p:cNvSpPr/>
          <p:nvPr/>
        </p:nvSpPr>
        <p:spPr>
          <a:xfrm>
            <a:off x="4748276" y="1871134"/>
            <a:ext cx="430615" cy="4142316"/>
          </a:xfrm>
          <a:prstGeom prst="rightBrace">
            <a:avLst/>
          </a:prstGeom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496AFD-0315-2443-D058-B7B611317ED5}"/>
              </a:ext>
            </a:extLst>
          </p:cNvPr>
          <p:cNvSpPr txBox="1"/>
          <p:nvPr/>
        </p:nvSpPr>
        <p:spPr>
          <a:xfrm>
            <a:off x="6098852" y="3728128"/>
            <a:ext cx="2793527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rgbClr val="FD5108"/>
                </a:solidFill>
                <a:latin typeface="Arial"/>
                <a:cs typeface="Arial"/>
              </a:rPr>
              <a:t>Mangel </a:t>
            </a:r>
            <a:r>
              <a:rPr lang="en-US" sz="1600" b="1" err="1">
                <a:solidFill>
                  <a:srgbClr val="FD5108"/>
                </a:solidFill>
                <a:latin typeface="Arial"/>
                <a:cs typeface="Arial"/>
              </a:rPr>
              <a:t>på</a:t>
            </a:r>
            <a:r>
              <a:rPr lang="en-US" sz="1600" b="1">
                <a:solidFill>
                  <a:srgbClr val="FD5108"/>
                </a:solidFill>
                <a:latin typeface="Arial"/>
                <a:cs typeface="Arial"/>
              </a:rPr>
              <a:t> </a:t>
            </a:r>
            <a:r>
              <a:rPr lang="en-US" sz="1600" b="1" err="1">
                <a:solidFill>
                  <a:srgbClr val="FD5108"/>
                </a:solidFill>
                <a:latin typeface="Arial"/>
                <a:cs typeface="Arial"/>
              </a:rPr>
              <a:t>synkronisering</a:t>
            </a:r>
            <a:br>
              <a:rPr lang="en-US" sz="1600" b="1">
                <a:solidFill>
                  <a:srgbClr val="FD5108"/>
                </a:solidFill>
                <a:latin typeface="Arial"/>
                <a:cs typeface="Arial"/>
              </a:rPr>
            </a:br>
            <a:r>
              <a:rPr lang="en-US" sz="1600" b="1" err="1">
                <a:solidFill>
                  <a:srgbClr val="FD5108"/>
                </a:solidFill>
                <a:latin typeface="Arial"/>
                <a:cs typeface="Arial"/>
              </a:rPr>
              <a:t>utfordrer</a:t>
            </a:r>
            <a:r>
              <a:rPr lang="en-US" sz="1600" b="1">
                <a:solidFill>
                  <a:srgbClr val="FD5108"/>
                </a:solidFill>
                <a:latin typeface="Arial"/>
                <a:cs typeface="Arial"/>
              </a:rPr>
              <a:t> </a:t>
            </a:r>
            <a:r>
              <a:rPr lang="en-US" sz="1600" b="1" err="1">
                <a:solidFill>
                  <a:srgbClr val="FD5108"/>
                </a:solidFill>
                <a:latin typeface="Arial"/>
                <a:cs typeface="Arial"/>
              </a:rPr>
              <a:t>samarbeid</a:t>
            </a:r>
            <a:endParaRPr lang="en-US" sz="1600" b="1">
              <a:solidFill>
                <a:srgbClr val="FD5108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45423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3136F7E-B155-35AF-1910-37DCE3304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64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136F7E-B155-35AF-1910-37DCE3304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oogle Shape;1513;p182">
            <a:extLst>
              <a:ext uri="{FF2B5EF4-FFF2-40B4-BE49-F238E27FC236}">
                <a16:creationId xmlns:a16="http://schemas.microsoft.com/office/drawing/2014/main" id="{8F91B2B8-8824-5F7E-9945-AB9A9C5D00CE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7858" t="12554" r="10455" b="37726"/>
          <a:stretch/>
        </p:blipFill>
        <p:spPr>
          <a:xfrm>
            <a:off x="34" y="6208360"/>
            <a:ext cx="12189765" cy="6484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184868AF-3432-D010-F7D9-D7E3288FD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835483" cy="915289"/>
          </a:xfrm>
        </p:spPr>
        <p:txBody>
          <a:bodyPr vert="horz"/>
          <a:lstStyle/>
          <a:p>
            <a:r>
              <a:rPr lang="en"/>
              <a:t>Vi har utviklet en verktøykasse (“veikart”) for en stegvis prosess mot etablering av samarbeid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6D5F80-C5C7-B7A0-9F9F-6A7E60454D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22" name="Google Shape;1514;p182">
            <a:extLst>
              <a:ext uri="{FF2B5EF4-FFF2-40B4-BE49-F238E27FC236}">
                <a16:creationId xmlns:a16="http://schemas.microsoft.com/office/drawing/2014/main" id="{D8D49137-026D-72AD-7D16-A99330C1C2E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27046" t="48937" r="-1534"/>
          <a:stretch/>
        </p:blipFill>
        <p:spPr>
          <a:xfrm>
            <a:off x="7161337" y="4646739"/>
            <a:ext cx="4739733" cy="1779518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1515;p182">
            <a:extLst>
              <a:ext uri="{FF2B5EF4-FFF2-40B4-BE49-F238E27FC236}">
                <a16:creationId xmlns:a16="http://schemas.microsoft.com/office/drawing/2014/main" id="{CE361BA9-5F9C-59A0-5E0D-2062D232BB54}"/>
              </a:ext>
            </a:extLst>
          </p:cNvPr>
          <p:cNvSpPr txBox="1"/>
          <p:nvPr/>
        </p:nvSpPr>
        <p:spPr>
          <a:xfrm>
            <a:off x="5332536" y="4823873"/>
            <a:ext cx="1416020" cy="169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9544">
              <a:lnSpc>
                <a:spcPct val="85000"/>
              </a:lnSpc>
              <a:buSzPts val="2100"/>
            </a:pPr>
            <a:endParaRPr sz="1905"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24" name="Google Shape;1516;p182">
            <a:extLst>
              <a:ext uri="{FF2B5EF4-FFF2-40B4-BE49-F238E27FC236}">
                <a16:creationId xmlns:a16="http://schemas.microsoft.com/office/drawing/2014/main" id="{57A8D589-A2B2-66A6-DA24-D7EF33CCB7E1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9631" r="9631"/>
          <a:stretch/>
        </p:blipFill>
        <p:spPr>
          <a:xfrm>
            <a:off x="8106828" y="5439829"/>
            <a:ext cx="183674" cy="2136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1517;p182">
            <a:extLst>
              <a:ext uri="{FF2B5EF4-FFF2-40B4-BE49-F238E27FC236}">
                <a16:creationId xmlns:a16="http://schemas.microsoft.com/office/drawing/2014/main" id="{B0A53D86-56CD-DC5C-3D6F-35FDD276A55E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26743" t="77108" r="38669"/>
          <a:stretch/>
        </p:blipFill>
        <p:spPr>
          <a:xfrm>
            <a:off x="8880928" y="5249878"/>
            <a:ext cx="3308415" cy="119918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518;p182">
            <a:extLst>
              <a:ext uri="{FF2B5EF4-FFF2-40B4-BE49-F238E27FC236}">
                <a16:creationId xmlns:a16="http://schemas.microsoft.com/office/drawing/2014/main" id="{2AE1DEB3-0378-A60D-448F-CF54AE474978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 l="9631" r="9631"/>
          <a:stretch/>
        </p:blipFill>
        <p:spPr>
          <a:xfrm>
            <a:off x="10373553" y="5087797"/>
            <a:ext cx="183674" cy="213605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Google Shape;1519;p182">
            <a:extLst>
              <a:ext uri="{FF2B5EF4-FFF2-40B4-BE49-F238E27FC236}">
                <a16:creationId xmlns:a16="http://schemas.microsoft.com/office/drawing/2014/main" id="{51781C07-DE8B-0F6A-E390-4D0A2C7858E3}"/>
              </a:ext>
            </a:extLst>
          </p:cNvPr>
          <p:cNvSpPr/>
          <p:nvPr/>
        </p:nvSpPr>
        <p:spPr>
          <a:xfrm>
            <a:off x="9428466" y="4241098"/>
            <a:ext cx="2073818" cy="651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82939" tIns="82939" rIns="82939" bIns="82939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9544">
              <a:buSzPts val="1400"/>
            </a:pPr>
            <a:r>
              <a:rPr lang="en" sz="1361">
                <a:latin typeface="Georgia"/>
                <a:ea typeface="Georgia"/>
                <a:cs typeface="Georgia"/>
                <a:sym typeface="Georgia"/>
              </a:rPr>
              <a:t>Avansert</a:t>
            </a:r>
            <a:endParaRPr sz="1361"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8" name="Google Shape;1520;p182">
            <a:extLst>
              <a:ext uri="{FF2B5EF4-FFF2-40B4-BE49-F238E27FC236}">
                <a16:creationId xmlns:a16="http://schemas.microsoft.com/office/drawing/2014/main" id="{365C0E69-EAAD-171A-9968-296A3D51AB0B}"/>
              </a:ext>
            </a:extLst>
          </p:cNvPr>
          <p:cNvSpPr/>
          <p:nvPr/>
        </p:nvSpPr>
        <p:spPr>
          <a:xfrm rot="18744772">
            <a:off x="10214652" y="4567175"/>
            <a:ext cx="422072" cy="460791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82939" tIns="82939" rIns="82939" bIns="82939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9544">
              <a:buSzPts val="1400"/>
            </a:pPr>
            <a:endParaRPr sz="1270"/>
          </a:p>
        </p:txBody>
      </p:sp>
      <p:sp>
        <p:nvSpPr>
          <p:cNvPr id="29" name="Google Shape;1521;p182">
            <a:extLst>
              <a:ext uri="{FF2B5EF4-FFF2-40B4-BE49-F238E27FC236}">
                <a16:creationId xmlns:a16="http://schemas.microsoft.com/office/drawing/2014/main" id="{A13D1155-F0F9-87C5-A9FF-4D5E298664AD}"/>
              </a:ext>
            </a:extLst>
          </p:cNvPr>
          <p:cNvSpPr/>
          <p:nvPr/>
        </p:nvSpPr>
        <p:spPr>
          <a:xfrm>
            <a:off x="7332908" y="4648353"/>
            <a:ext cx="1646535" cy="5206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82939" tIns="82939" rIns="82939" bIns="82939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9544">
              <a:buSzPts val="1400"/>
            </a:pPr>
            <a:r>
              <a:rPr lang="en" sz="1361">
                <a:latin typeface="Georgia"/>
                <a:ea typeface="Georgia"/>
                <a:cs typeface="Georgia"/>
                <a:sym typeface="Georgia"/>
              </a:rPr>
              <a:t>Viderekommen</a:t>
            </a:r>
            <a:endParaRPr sz="1361"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0" name="Google Shape;1522;p182">
            <a:extLst>
              <a:ext uri="{FF2B5EF4-FFF2-40B4-BE49-F238E27FC236}">
                <a16:creationId xmlns:a16="http://schemas.microsoft.com/office/drawing/2014/main" id="{D3974611-A2A6-3CBE-CF0B-A86472C4F51C}"/>
              </a:ext>
            </a:extLst>
          </p:cNvPr>
          <p:cNvSpPr/>
          <p:nvPr/>
        </p:nvSpPr>
        <p:spPr>
          <a:xfrm rot="18771692">
            <a:off x="7944148" y="4822495"/>
            <a:ext cx="422898" cy="460249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82939" tIns="82939" rIns="82939" bIns="82939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9544">
              <a:buSzPts val="1400"/>
            </a:pPr>
            <a:endParaRPr sz="1905"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1" name="Google Shape;1523;p182">
            <a:extLst>
              <a:ext uri="{FF2B5EF4-FFF2-40B4-BE49-F238E27FC236}">
                <a16:creationId xmlns:a16="http://schemas.microsoft.com/office/drawing/2014/main" id="{D89FB01C-254E-CA56-8E2F-7B850BCCEBDF}"/>
              </a:ext>
            </a:extLst>
          </p:cNvPr>
          <p:cNvSpPr/>
          <p:nvPr/>
        </p:nvSpPr>
        <p:spPr>
          <a:xfrm rot="18870432">
            <a:off x="5634781" y="5307572"/>
            <a:ext cx="425121" cy="457454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82939" tIns="82939" rIns="82939" bIns="82939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9544">
              <a:buSzPts val="1400"/>
            </a:pPr>
            <a:endParaRPr sz="1270"/>
          </a:p>
        </p:txBody>
      </p:sp>
      <p:pic>
        <p:nvPicPr>
          <p:cNvPr id="32" name="Google Shape;1524;p182">
            <a:extLst>
              <a:ext uri="{FF2B5EF4-FFF2-40B4-BE49-F238E27FC236}">
                <a16:creationId xmlns:a16="http://schemas.microsoft.com/office/drawing/2014/main" id="{6EFDE65C-7760-F65D-B1E6-A43C76E640C8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1266" t="89018" r="77312"/>
          <a:stretch/>
        </p:blipFill>
        <p:spPr>
          <a:xfrm>
            <a:off x="4995013" y="5984418"/>
            <a:ext cx="1573765" cy="441834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1525;p182">
            <a:extLst>
              <a:ext uri="{FF2B5EF4-FFF2-40B4-BE49-F238E27FC236}">
                <a16:creationId xmlns:a16="http://schemas.microsoft.com/office/drawing/2014/main" id="{AE97EE4D-5EAC-799F-4D93-31289B81F660}"/>
              </a:ext>
            </a:extLst>
          </p:cNvPr>
          <p:cNvSpPr/>
          <p:nvPr/>
        </p:nvSpPr>
        <p:spPr>
          <a:xfrm>
            <a:off x="5176864" y="5302410"/>
            <a:ext cx="1416020" cy="3731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82939" tIns="82939" rIns="82939" bIns="82939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9544">
              <a:buSzPts val="1400"/>
            </a:pPr>
            <a:r>
              <a:rPr lang="en" sz="1350" err="1">
                <a:latin typeface="Georgia"/>
                <a:ea typeface="Georgia"/>
                <a:cs typeface="Georgia"/>
                <a:sym typeface="Georgia"/>
              </a:rPr>
              <a:t>Grunnleggende</a:t>
            </a:r>
            <a:endParaRPr sz="1350" err="1"/>
          </a:p>
        </p:txBody>
      </p:sp>
      <p:grpSp>
        <p:nvGrpSpPr>
          <p:cNvPr id="34" name="Google Shape;1526;p182">
            <a:extLst>
              <a:ext uri="{FF2B5EF4-FFF2-40B4-BE49-F238E27FC236}">
                <a16:creationId xmlns:a16="http://schemas.microsoft.com/office/drawing/2014/main" id="{F9CD4D21-4266-9121-6C8B-0A63D565AB10}"/>
              </a:ext>
            </a:extLst>
          </p:cNvPr>
          <p:cNvGrpSpPr/>
          <p:nvPr/>
        </p:nvGrpSpPr>
        <p:grpSpPr>
          <a:xfrm>
            <a:off x="5810893" y="5901385"/>
            <a:ext cx="90435" cy="147208"/>
            <a:chOff x="5049162" y="5915762"/>
            <a:chExt cx="131065" cy="265451"/>
          </a:xfrm>
        </p:grpSpPr>
        <p:sp>
          <p:nvSpPr>
            <p:cNvPr id="35" name="Google Shape;1527;p182">
              <a:extLst>
                <a:ext uri="{FF2B5EF4-FFF2-40B4-BE49-F238E27FC236}">
                  <a16:creationId xmlns:a16="http://schemas.microsoft.com/office/drawing/2014/main" id="{5657D90B-2715-52F4-1E9B-E079D7D7185B}"/>
                </a:ext>
              </a:extLst>
            </p:cNvPr>
            <p:cNvSpPr/>
            <p:nvPr/>
          </p:nvSpPr>
          <p:spPr>
            <a:xfrm rot="10800000">
              <a:off x="5049162" y="5915762"/>
              <a:ext cx="131065" cy="105300"/>
            </a:xfrm>
            <a:custGeom>
              <a:avLst/>
              <a:gdLst/>
              <a:ahLst/>
              <a:cxnLst/>
              <a:rect l="l" t="t" r="r" b="b"/>
              <a:pathLst>
                <a:path w="1807800" h="1080000" extrusionOk="0">
                  <a:moveTo>
                    <a:pt x="0" y="0"/>
                  </a:moveTo>
                  <a:lnTo>
                    <a:pt x="1807800" y="0"/>
                  </a:lnTo>
                  <a:lnTo>
                    <a:pt x="1807800" y="1080000"/>
                  </a:lnTo>
                  <a:lnTo>
                    <a:pt x="0" y="1080000"/>
                  </a:lnTo>
                  <a:lnTo>
                    <a:pt x="384070" y="54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82939" tIns="41458" rIns="82939" bIns="41458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9544"/>
              <a:endParaRPr sz="907">
                <a:solidFill>
                  <a:srgbClr val="EB8C00"/>
                </a:solidFill>
              </a:endParaRPr>
            </a:p>
          </p:txBody>
        </p:sp>
        <p:cxnSp>
          <p:nvCxnSpPr>
            <p:cNvPr id="36" name="Google Shape;1528;p182">
              <a:extLst>
                <a:ext uri="{FF2B5EF4-FFF2-40B4-BE49-F238E27FC236}">
                  <a16:creationId xmlns:a16="http://schemas.microsoft.com/office/drawing/2014/main" id="{6B71B45B-FD73-F58C-AC4B-CE13F58AD020}"/>
                </a:ext>
              </a:extLst>
            </p:cNvPr>
            <p:cNvCxnSpPr/>
            <p:nvPr/>
          </p:nvCxnSpPr>
          <p:spPr>
            <a:xfrm>
              <a:off x="5050079" y="5922013"/>
              <a:ext cx="0" cy="2592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37" name="Google Shape;1530;p182">
            <a:extLst>
              <a:ext uri="{FF2B5EF4-FFF2-40B4-BE49-F238E27FC236}">
                <a16:creationId xmlns:a16="http://schemas.microsoft.com/office/drawing/2014/main" id="{A4836531-931C-95EE-ACDC-57F51C28C335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659966" y="2227280"/>
            <a:ext cx="3315082" cy="2173019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4C8FAEF-7B09-8659-7DD2-8FB30CF789D7}"/>
              </a:ext>
            </a:extLst>
          </p:cNvPr>
          <p:cNvGrpSpPr/>
          <p:nvPr/>
        </p:nvGrpSpPr>
        <p:grpSpPr>
          <a:xfrm>
            <a:off x="4438540" y="1782023"/>
            <a:ext cx="3315092" cy="2152108"/>
            <a:chOff x="4438540" y="1782023"/>
            <a:chExt cx="3315092" cy="2152108"/>
          </a:xfrm>
        </p:grpSpPr>
        <p:pic>
          <p:nvPicPr>
            <p:cNvPr id="38" name="Google Shape;1531;p182">
              <a:extLst>
                <a:ext uri="{FF2B5EF4-FFF2-40B4-BE49-F238E27FC236}">
                  <a16:creationId xmlns:a16="http://schemas.microsoft.com/office/drawing/2014/main" id="{09D1CF4E-5FCC-757B-3547-BC7E7DF34D3B}"/>
                </a:ext>
              </a:extLst>
            </p:cNvPr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4438540" y="1782023"/>
              <a:ext cx="3315092" cy="2152108"/>
            </a:xfrm>
            <a:prstGeom prst="rect">
              <a:avLst/>
            </a:prstGeom>
            <a:noFill/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760DE78-2EA2-C588-E008-3063A5C3754B}"/>
                </a:ext>
              </a:extLst>
            </p:cNvPr>
            <p:cNvSpPr/>
            <p:nvPr/>
          </p:nvSpPr>
          <p:spPr>
            <a:xfrm>
              <a:off x="5856110" y="2019298"/>
              <a:ext cx="521494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39" name="Google Shape;1532;p182">
            <a:extLst>
              <a:ext uri="{FF2B5EF4-FFF2-40B4-BE49-F238E27FC236}">
                <a16:creationId xmlns:a16="http://schemas.microsoft.com/office/drawing/2014/main" id="{C8D88A98-540B-534B-7539-94507B5E72A1}"/>
              </a:ext>
            </a:extLst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7217113" y="1339876"/>
            <a:ext cx="3315094" cy="2185592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31640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5BBE8F8-B8D7-82AF-75F6-9F29EE5A8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290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BE8F8-B8D7-82AF-75F6-9F29EE5A8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E29306-6440-24A5-A236-BFC12F2DC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321133" cy="915289"/>
          </a:xfrm>
        </p:spPr>
        <p:txBody>
          <a:bodyPr vert="horz"/>
          <a:lstStyle/>
          <a:p>
            <a:r>
              <a:rPr lang="nb-NO"/>
              <a:t>Våre fire hovedanbefalinger til norske kommu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3CB859-DC6E-62D7-DB07-4CCAF97CED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48" y="4597400"/>
            <a:ext cx="2757805" cy="412750"/>
          </a:xfrm>
        </p:spPr>
        <p:txBody>
          <a:bodyPr vert="horz" lIns="0" tIns="0" rIns="91440" bIns="0" rtlCol="0" anchor="t">
            <a:noAutofit/>
          </a:bodyPr>
          <a:lstStyle/>
          <a:p>
            <a:pPr algn="ctr"/>
            <a:r>
              <a:rPr lang="nb-NO" sz="1200">
                <a:solidFill>
                  <a:schemeClr val="accent1"/>
                </a:solidFill>
              </a:rPr>
              <a:t>Samarbeid!</a:t>
            </a:r>
            <a:endParaRPr lang="nb-NO" sz="1200">
              <a:solidFill>
                <a:schemeClr val="accent1"/>
              </a:solidFill>
              <a:cs typeface="Arial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DA0F06-BCC1-B653-EC5A-FBC4F02C8FD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086621" y="4597400"/>
            <a:ext cx="2752324" cy="412750"/>
          </a:xfrm>
        </p:spPr>
        <p:txBody>
          <a:bodyPr/>
          <a:lstStyle/>
          <a:p>
            <a:pPr algn="ctr"/>
            <a:r>
              <a:rPr lang="nb-NO" sz="1200">
                <a:solidFill>
                  <a:schemeClr val="accent1"/>
                </a:solidFill>
              </a:rPr>
              <a:t>Formaliser</a:t>
            </a:r>
            <a:r>
              <a:rPr lang="nb-NO" sz="1200"/>
              <a:t> samarbeid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4FD738-B3F5-23AE-B1B4-4693E497A50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963311" y="4597400"/>
            <a:ext cx="2749927" cy="412750"/>
          </a:xfrm>
        </p:spPr>
        <p:txBody>
          <a:bodyPr/>
          <a:lstStyle/>
          <a:p>
            <a:pPr algn="ctr"/>
            <a:r>
              <a:rPr lang="nb-NO" sz="1200"/>
              <a:t>Se på </a:t>
            </a:r>
            <a:r>
              <a:rPr lang="nb-NO" sz="1200">
                <a:solidFill>
                  <a:schemeClr val="accent1"/>
                </a:solidFill>
              </a:rPr>
              <a:t>internt samarbeid </a:t>
            </a:r>
            <a:r>
              <a:rPr lang="nb-NO" sz="1200"/>
              <a:t>i egen kommu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94DBA5-D300-D688-CEBD-25EAC6CCC432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845256" y="4597400"/>
            <a:ext cx="2749927" cy="412750"/>
          </a:xfrm>
        </p:spPr>
        <p:txBody>
          <a:bodyPr/>
          <a:lstStyle/>
          <a:p>
            <a:pPr algn="ctr"/>
            <a:r>
              <a:rPr lang="nb-NO" sz="1200">
                <a:solidFill>
                  <a:schemeClr val="accent1"/>
                </a:solidFill>
              </a:rPr>
              <a:t>Forankre</a:t>
            </a:r>
            <a:r>
              <a:rPr lang="nb-NO" sz="1200"/>
              <a:t> på politisk, administrativt og faglig nivå</a:t>
            </a:r>
          </a:p>
          <a:p>
            <a:pPr algn="ctr"/>
            <a:endParaRPr lang="nb-NO" sz="120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204125-0BEC-05EB-4A27-A28A02BBE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B3368DA-402C-9628-2782-EA27DBD867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7586" y="3186470"/>
            <a:ext cx="1410930" cy="141093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48439AFB-525A-2C28-3F04-509C09ECC1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5204" y="3311014"/>
            <a:ext cx="1153521" cy="1153521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2070592D-E956-6035-2E6B-1B6E4EA023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72848" y="3311015"/>
            <a:ext cx="1153520" cy="115352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759A3DE0-EC18-CFAC-0469-50E892EE305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53056" y="3211212"/>
            <a:ext cx="1153521" cy="1153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1883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F1D90C0-B605-D096-798F-0894812CB0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690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1D90C0-B605-D096-798F-0894812CB0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E56B5F9E-1A90-EE45-BB6C-F83B8B17795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1694" y="3894972"/>
            <a:ext cx="4704858" cy="112856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Vil du vite mer?</a:t>
            </a:r>
            <a:br>
              <a:rPr lang="nb-NO"/>
            </a:br>
            <a:r>
              <a:rPr lang="nb-NO"/>
              <a:t>Ta kontakt i en pause, så sender vi rapporten! </a:t>
            </a:r>
            <a:br>
              <a:rPr lang="nb-NO"/>
            </a:br>
            <a:endParaRPr lang="nb-NO">
              <a:cs typeface="Arial"/>
            </a:endParaRPr>
          </a:p>
          <a:p>
            <a:br>
              <a:rPr lang="nb-NO"/>
            </a:br>
            <a:r>
              <a:rPr lang="nb-NO" b="0"/>
              <a:t>Finnes også på </a:t>
            </a:r>
            <a:r>
              <a:rPr lang="nb-NO" b="0">
                <a:hlinkClick r:id="rId5"/>
              </a:rPr>
              <a:t>ks.no</a:t>
            </a:r>
            <a:endParaRPr lang="nb-NO" b="0">
              <a:cs typeface="Arial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A4CE7FF-1404-22F0-3FC0-B5A0401931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F512804-E81B-66AE-576C-E9348232A08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748"/>
          <a:stretch>
            <a:fillRect/>
          </a:stretch>
        </p:blipFill>
        <p:spPr>
          <a:xfrm>
            <a:off x="6163056" y="1198549"/>
            <a:ext cx="5412994" cy="3829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1B70202-4CB8-C710-A566-9D2F9643A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8891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3E69C8-0217-5E6D-AC19-3DABFF7744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54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1" imgH="340" progId="TCLayout.ActiveDocument.1">
                  <p:embed/>
                </p:oleObj>
              </mc:Choice>
              <mc:Fallback>
                <p:oleObj name="think-cell Slide" r:id="rId4" imgW="341" imgH="3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E69C8-0217-5E6D-AC19-3DABFF774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89581F2-593A-89D6-A13D-D744F359C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8583" y="2316146"/>
            <a:ext cx="6629400" cy="838022"/>
          </a:xfrm>
        </p:spPr>
        <p:txBody>
          <a:bodyPr vert="horz"/>
          <a:lstStyle/>
          <a:p>
            <a:r>
              <a:rPr lang="en-GB" noProof="0" err="1"/>
              <a:t>Takk</a:t>
            </a:r>
            <a:r>
              <a:rPr lang="en-GB" noProof="0"/>
              <a:t> for </a:t>
            </a:r>
            <a:r>
              <a:rPr lang="en-GB" noProof="0" err="1"/>
              <a:t>oss</a:t>
            </a:r>
            <a:r>
              <a:rPr lang="en-GB" noProof="0"/>
              <a:t>!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en-GB" sz="1400">
                <a:latin typeface="+mn-lt"/>
              </a:rPr>
              <a:t>Frode Singstad, partner</a:t>
            </a:r>
            <a:br>
              <a:rPr lang="en-GB" sz="1400">
                <a:latin typeface="+mn-lt"/>
              </a:rPr>
            </a:br>
            <a:br>
              <a:rPr lang="en-GB" sz="1400">
                <a:latin typeface="+mn-lt"/>
              </a:rPr>
            </a:br>
            <a:r>
              <a:rPr lang="en-GB" sz="1400">
                <a:latin typeface="+mn-lt"/>
              </a:rPr>
              <a:t>Kjetil Birkeland </a:t>
            </a:r>
            <a:r>
              <a:rPr lang="en-GB" sz="1400" err="1">
                <a:latin typeface="+mn-lt"/>
              </a:rPr>
              <a:t>Daatland</a:t>
            </a:r>
            <a:r>
              <a:rPr lang="en-GB" sz="1400">
                <a:latin typeface="+mn-lt"/>
              </a:rPr>
              <a:t>, senior manager</a:t>
            </a:r>
            <a:br>
              <a:rPr lang="en-GB" sz="1600" b="1">
                <a:latin typeface="+mn-lt"/>
              </a:rPr>
            </a:br>
            <a:endParaRPr lang="en-GB" sz="1600" noProof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A47427-AF5F-80D7-55B7-5131ED20F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97150" y="4823926"/>
            <a:ext cx="6604325" cy="1655540"/>
          </a:xfrm>
        </p:spPr>
        <p:txBody>
          <a:bodyPr/>
          <a:lstStyle/>
          <a:p>
            <a:r>
              <a:rPr lang="en-US">
                <a:sym typeface="Arial"/>
              </a:rPr>
              <a:t>© 2025 PwC Norway. All rights reserved. PwC refers to the group of member firms and may sometimes refer to the PwC network. Each member firm is a separate legal entity. Please see www.pwc.com/structure for further details.</a:t>
            </a:r>
          </a:p>
        </p:txBody>
      </p:sp>
    </p:spTree>
    <p:extLst>
      <p:ext uri="{BB962C8B-B14F-4D97-AF65-F5344CB8AC3E}">
        <p14:creationId xmlns:p14="http://schemas.microsoft.com/office/powerpoint/2010/main" val="2714884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DE433-FE4B-3DD5-569A-DEFD63FBF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AA980C1-243D-1627-4150-CFF139D2D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979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980C1-243D-1627-4150-CFF139D2D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925;g3053c92acff_0_539">
            <a:extLst>
              <a:ext uri="{FF2B5EF4-FFF2-40B4-BE49-F238E27FC236}">
                <a16:creationId xmlns:a16="http://schemas.microsoft.com/office/drawing/2014/main" id="{A1017B83-A824-8B46-3CC3-F9BA8FBF8D30}"/>
              </a:ext>
            </a:extLst>
          </p:cNvPr>
          <p:cNvPicPr preferRelativeResize="0">
            <a:picLocks noGrp="1"/>
          </p:cNvPicPr>
          <p:nvPr>
            <p:ph type="pic" sz="quarter" idx="11"/>
          </p:nvPr>
        </p:nvPicPr>
        <p:blipFill>
          <a:blip r:embed="rId5">
            <a:alphaModFix/>
          </a:blip>
          <a:srcRect t="122" r="2814" b="2959"/>
          <a:stretch>
            <a:fillRect/>
          </a:stretch>
        </p:blipFill>
        <p:spPr>
          <a:xfrm>
            <a:off x="-3791" y="0"/>
            <a:ext cx="12195791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04D90749-659C-F137-7416-6D0559923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663" y="-319682"/>
            <a:ext cx="5695950" cy="249299"/>
          </a:xfrm>
        </p:spPr>
        <p:txBody>
          <a:bodyPr vert="horz"/>
          <a:lstStyle/>
          <a:p>
            <a:r>
              <a:rPr lang="en-GB" noProof="0"/>
              <a:t>Title for accessibility                                         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45D1C9-0BF4-79A0-7FE8-DDE0E68532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94728" y="6506965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50" b="1" noProof="0">
                <a:solidFill>
                  <a:schemeClr val="bg1"/>
                </a:solidFill>
              </a:rPr>
              <a:t>PwC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571811-CEDA-1F97-7E70-67EC8C2995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970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F0A3B-DA46-FDAE-3D0D-09E8C9FC9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5EB6CCE-6F52-7E31-26F1-3D55198C3F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47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EB6CCE-6F52-7E31-26F1-3D55198C3F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B0DA4368-4EDA-57D6-B702-4936118B96B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/>
          <a:srcRect t="12289" b="1228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CAE05E07-8DC6-0679-7D52-931208208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663" y="-319682"/>
            <a:ext cx="5695950" cy="249299"/>
          </a:xfrm>
        </p:spPr>
        <p:txBody>
          <a:bodyPr vert="horz"/>
          <a:lstStyle/>
          <a:p>
            <a:r>
              <a:rPr lang="en-GB" noProof="0"/>
              <a:t>Title for accessibility                                         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FE9F6D-930D-35A1-AB13-A30B085D263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94728" y="6506965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50" b="1" noProof="0">
                <a:solidFill>
                  <a:schemeClr val="bg1"/>
                </a:solidFill>
              </a:rPr>
              <a:t>PwC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EC53CB-4533-6B1F-3AB4-351A41C0C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392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8DE517-CB4C-1B39-51C4-BCB2DF9E2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A4468E-0592-E7AA-C7E4-5901C54BF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  |   Sec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773157-A499-9008-DFBA-652E778BBA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8" name="Picture Placeholder 35" descr="A bridge over a river&#10;&#10;AI-generated content may be incorrect.">
            <a:extLst>
              <a:ext uri="{FF2B5EF4-FFF2-40B4-BE49-F238E27FC236}">
                <a16:creationId xmlns:a16="http://schemas.microsoft.com/office/drawing/2014/main" id="{02B314A8-85BD-EEF1-1192-FA512BD37AE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2" t="26015" r="9002" b="3937"/>
          <a:stretch>
            <a:fillRect/>
          </a:stretch>
        </p:blipFill>
        <p:spPr>
          <a:xfrm>
            <a:off x="0" y="0"/>
            <a:ext cx="12195535" cy="6858000"/>
          </a:xfrm>
        </p:spPr>
      </p:pic>
    </p:spTree>
    <p:extLst>
      <p:ext uri="{BB962C8B-B14F-4D97-AF65-F5344CB8AC3E}">
        <p14:creationId xmlns:p14="http://schemas.microsoft.com/office/powerpoint/2010/main" val="1694232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10740B0-0EED-6D35-7B85-97A1BA74EC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295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0740B0-0EED-6D35-7B85-97A1BA74E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8CFA9E98-D9DD-95C6-71A1-680818EAD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931368" cy="915289"/>
          </a:xfrm>
        </p:spPr>
        <p:txBody>
          <a:bodyPr vert="horz"/>
          <a:lstStyle/>
          <a:p>
            <a:r>
              <a:rPr lang="nb-NO"/>
              <a:t>Nasjonale rapporter understreker behovet for en </a:t>
            </a:r>
            <a:r>
              <a:rPr lang="nb-NO" b="1">
                <a:solidFill>
                  <a:schemeClr val="accent1"/>
                </a:solidFill>
              </a:rPr>
              <a:t>samlet innsats </a:t>
            </a:r>
            <a:r>
              <a:rPr lang="nb-NO"/>
              <a:t>mot fremtidige trusler som spionasje, sabotasje og cyberangrep</a:t>
            </a:r>
            <a:br>
              <a:rPr lang="nb-NO"/>
            </a:br>
            <a:endParaRPr lang="nb-NO"/>
          </a:p>
        </p:txBody>
      </p:sp>
      <p:pic>
        <p:nvPicPr>
          <p:cNvPr id="9" name="Google Shape;1277;p173" title="Skjermbilde 2025-03-19 093023.png">
            <a:extLst>
              <a:ext uri="{FF2B5EF4-FFF2-40B4-BE49-F238E27FC236}">
                <a16:creationId xmlns:a16="http://schemas.microsoft.com/office/drawing/2014/main" id="{E178996F-5D3D-5D97-A88B-5733C91F5EB2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811" r="1811"/>
          <a:stretch/>
        </p:blipFill>
        <p:spPr>
          <a:xfrm>
            <a:off x="9096587" y="2256550"/>
            <a:ext cx="2542040" cy="2542040"/>
          </a:xfrm>
          <a:prstGeom prst="ellipse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10" name="Google Shape;1278;p173" title="Skjermbilde 2025-03-19 090047.png">
            <a:extLst>
              <a:ext uri="{FF2B5EF4-FFF2-40B4-BE49-F238E27FC236}">
                <a16:creationId xmlns:a16="http://schemas.microsoft.com/office/drawing/2014/main" id="{96091B11-5578-B2EB-3B5C-C5239F6EF6C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t="12282" b="12274"/>
          <a:stretch/>
        </p:blipFill>
        <p:spPr>
          <a:xfrm>
            <a:off x="4824980" y="2256550"/>
            <a:ext cx="2542040" cy="2542040"/>
          </a:xfrm>
          <a:prstGeom prst="ellipse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11" name="Google Shape;1279;p173" title="Skjermbilde 2025-03-19 085135.png">
            <a:extLst>
              <a:ext uri="{FF2B5EF4-FFF2-40B4-BE49-F238E27FC236}">
                <a16:creationId xmlns:a16="http://schemas.microsoft.com/office/drawing/2014/main" id="{B57D1887-B603-1A82-D6B4-DE7F3EBE06A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t="9356" b="9356"/>
          <a:stretch/>
        </p:blipFill>
        <p:spPr>
          <a:xfrm>
            <a:off x="553373" y="2256550"/>
            <a:ext cx="2542040" cy="2542040"/>
          </a:xfrm>
          <a:prstGeom prst="ellipse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06172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748F37-1874-0927-B820-B3A743339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DB28430-62DC-0E07-ECBB-78B5E406E9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1550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B28430-62DC-0E07-ECBB-78B5E406E9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896;g3053c92acff_0_513" descr="An aerial view of a destroyed city&#10;&#10;AI-generated content may be incorrect.">
            <a:extLst>
              <a:ext uri="{FF2B5EF4-FFF2-40B4-BE49-F238E27FC236}">
                <a16:creationId xmlns:a16="http://schemas.microsoft.com/office/drawing/2014/main" id="{FC99137B-8D7C-A8B2-CC13-3CFBFCD22A32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0" y="-70383"/>
            <a:ext cx="12191999" cy="6938279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E46AC455-58DA-1564-0AFB-C0B40C37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663" y="-319682"/>
            <a:ext cx="5695950" cy="249299"/>
          </a:xfrm>
        </p:spPr>
        <p:txBody>
          <a:bodyPr vert="horz"/>
          <a:lstStyle/>
          <a:p>
            <a:r>
              <a:rPr lang="en-GB" noProof="0"/>
              <a:t>Title for accessibility                                         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EE9822-E58E-03C6-C43D-99E3B6D9D5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94728" y="6506965"/>
            <a:ext cx="43148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50" b="1" noProof="0">
                <a:solidFill>
                  <a:schemeClr val="bg1"/>
                </a:solidFill>
              </a:rPr>
              <a:t>PwC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F4CBB-BB03-1939-3567-23992D3962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148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E1943-CAA5-AECD-E407-016E76B6AD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98B6889-CA38-10FE-9CE9-5719F6651A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8B6889-CA38-10FE-9CE9-5719F6651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F0990DF5-DC7A-57FA-4E5E-E92DF8FE48C9}"/>
              </a:ext>
            </a:extLst>
          </p:cNvPr>
          <p:cNvSpPr/>
          <p:nvPr/>
        </p:nvSpPr>
        <p:spPr>
          <a:xfrm>
            <a:off x="0" y="3695121"/>
            <a:ext cx="12192000" cy="3162879"/>
          </a:xfrm>
          <a:prstGeom prst="rect">
            <a:avLst/>
          </a:prstGeom>
          <a:solidFill>
            <a:srgbClr val="FFF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2880D35-DCB8-EAC8-EF88-B2958A393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7" y="402336"/>
            <a:ext cx="11171186" cy="915289"/>
          </a:xfrm>
        </p:spPr>
        <p:txBody>
          <a:bodyPr vert="horz"/>
          <a:lstStyle/>
          <a:p>
            <a:r>
              <a:rPr lang="nb-NO"/>
              <a:t>Kommunen står i første linje i krisehåndtering, og har ansvar innen en rekke områder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049CDB-74E1-F5E0-2867-3888F57D6A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6" name="Content Placeholder 5">
            <a:extLst>
              <a:ext uri="{FF2B5EF4-FFF2-40B4-BE49-F238E27FC236}">
                <a16:creationId xmlns:a16="http://schemas.microsoft.com/office/drawing/2014/main" id="{2C76AAD9-7D9F-C8E5-56FB-15DB0D7774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13932" y="1709505"/>
            <a:ext cx="2741591" cy="1783783"/>
          </a:xfr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150E0FA-67AD-4FB0-6E8E-F337BDCF394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7467"/>
          <a:stretch>
            <a:fillRect/>
          </a:stretch>
        </p:blipFill>
        <p:spPr>
          <a:xfrm>
            <a:off x="2891770" y="1793343"/>
            <a:ext cx="2191355" cy="155449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3681804-6EF0-5BB4-E9CE-4887613F1F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5050" y="1782669"/>
            <a:ext cx="2004447" cy="15645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115EC45-646F-2B29-F5DA-C27D49C45E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9372" y="1852213"/>
            <a:ext cx="2629430" cy="148381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041F6ED-F039-8144-85D8-92F448692F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25745" y="1764679"/>
            <a:ext cx="2138074" cy="1659029"/>
          </a:xfrm>
          <a:prstGeom prst="rect">
            <a:avLst/>
          </a:prstGeom>
        </p:spPr>
      </p:pic>
      <p:sp>
        <p:nvSpPr>
          <p:cNvPr id="23" name="Google Shape;1330;p177">
            <a:extLst>
              <a:ext uri="{FF2B5EF4-FFF2-40B4-BE49-F238E27FC236}">
                <a16:creationId xmlns:a16="http://schemas.microsoft.com/office/drawing/2014/main" id="{14100783-AB59-0A42-2201-F9A5732CCB5B}"/>
              </a:ext>
            </a:extLst>
          </p:cNvPr>
          <p:cNvSpPr/>
          <p:nvPr/>
        </p:nvSpPr>
        <p:spPr>
          <a:xfrm>
            <a:off x="5454047" y="4804245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457200" h="457200" extrusionOk="0">
                <a:moveTo>
                  <a:pt x="0" y="0"/>
                </a:moveTo>
                <a:lnTo>
                  <a:pt x="0" y="457200"/>
                </a:lnTo>
                <a:lnTo>
                  <a:pt x="457200" y="457200"/>
                </a:lnTo>
                <a:lnTo>
                  <a:pt x="457200" y="0"/>
                </a:lnTo>
                <a:close/>
                <a:moveTo>
                  <a:pt x="85725" y="383858"/>
                </a:moveTo>
                <a:cubicBezTo>
                  <a:pt x="84836" y="362871"/>
                  <a:pt x="99632" y="356457"/>
                  <a:pt x="102076" y="355473"/>
                </a:cubicBezTo>
                <a:lnTo>
                  <a:pt x="146526" y="333724"/>
                </a:lnTo>
                <a:lnTo>
                  <a:pt x="146526" y="341694"/>
                </a:lnTo>
                <a:cubicBezTo>
                  <a:pt x="129849" y="345811"/>
                  <a:pt x="118038" y="360648"/>
                  <a:pt x="117761" y="377825"/>
                </a:cubicBezTo>
                <a:lnTo>
                  <a:pt x="117761" y="377825"/>
                </a:lnTo>
                <a:lnTo>
                  <a:pt x="117761" y="430086"/>
                </a:lnTo>
                <a:lnTo>
                  <a:pt x="135604" y="430086"/>
                </a:lnTo>
                <a:lnTo>
                  <a:pt x="135604" y="378365"/>
                </a:lnTo>
                <a:cubicBezTo>
                  <a:pt x="136045" y="367309"/>
                  <a:pt x="145364" y="358702"/>
                  <a:pt x="156420" y="359143"/>
                </a:cubicBezTo>
                <a:cubicBezTo>
                  <a:pt x="166858" y="359559"/>
                  <a:pt x="175225" y="367925"/>
                  <a:pt x="175641" y="378365"/>
                </a:cubicBezTo>
                <a:lnTo>
                  <a:pt x="175641" y="429927"/>
                </a:lnTo>
                <a:lnTo>
                  <a:pt x="193485" y="429927"/>
                </a:lnTo>
                <a:lnTo>
                  <a:pt x="193485" y="378365"/>
                </a:lnTo>
                <a:cubicBezTo>
                  <a:pt x="193485" y="378143"/>
                  <a:pt x="193485" y="377889"/>
                  <a:pt x="193485" y="377666"/>
                </a:cubicBezTo>
                <a:cubicBezTo>
                  <a:pt x="193136" y="360518"/>
                  <a:pt x="181289" y="345751"/>
                  <a:pt x="164624" y="341694"/>
                </a:cubicBezTo>
                <a:lnTo>
                  <a:pt x="164624" y="325025"/>
                </a:lnTo>
                <a:lnTo>
                  <a:pt x="193548" y="310896"/>
                </a:lnTo>
                <a:lnTo>
                  <a:pt x="221488" y="352933"/>
                </a:lnTo>
                <a:lnTo>
                  <a:pt x="242856" y="352933"/>
                </a:lnTo>
                <a:lnTo>
                  <a:pt x="270986" y="310610"/>
                </a:lnTo>
                <a:lnTo>
                  <a:pt x="293973" y="321786"/>
                </a:lnTo>
                <a:lnTo>
                  <a:pt x="293973" y="367633"/>
                </a:lnTo>
                <a:cubicBezTo>
                  <a:pt x="278796" y="372561"/>
                  <a:pt x="270487" y="388858"/>
                  <a:pt x="275414" y="404035"/>
                </a:cubicBezTo>
                <a:cubicBezTo>
                  <a:pt x="280342" y="419211"/>
                  <a:pt x="296640" y="427520"/>
                  <a:pt x="311817" y="422596"/>
                </a:cubicBezTo>
                <a:cubicBezTo>
                  <a:pt x="326993" y="417668"/>
                  <a:pt x="335302" y="401368"/>
                  <a:pt x="330375" y="386191"/>
                </a:cubicBezTo>
                <a:cubicBezTo>
                  <a:pt x="327517" y="377390"/>
                  <a:pt x="320618" y="370491"/>
                  <a:pt x="311817" y="367633"/>
                </a:cubicBezTo>
                <a:lnTo>
                  <a:pt x="311817" y="330486"/>
                </a:lnTo>
                <a:lnTo>
                  <a:pt x="363823" y="355886"/>
                </a:lnTo>
                <a:cubicBezTo>
                  <a:pt x="363823" y="355886"/>
                  <a:pt x="380270" y="362236"/>
                  <a:pt x="379317" y="384461"/>
                </a:cubicBezTo>
                <a:lnTo>
                  <a:pt x="379317" y="439547"/>
                </a:lnTo>
                <a:lnTo>
                  <a:pt x="85725" y="439547"/>
                </a:lnTo>
                <a:close/>
                <a:moveTo>
                  <a:pt x="232442" y="152654"/>
                </a:moveTo>
                <a:cubicBezTo>
                  <a:pt x="262541" y="152654"/>
                  <a:pt x="283623" y="162179"/>
                  <a:pt x="291116" y="171418"/>
                </a:cubicBezTo>
                <a:cubicBezTo>
                  <a:pt x="291116" y="171418"/>
                  <a:pt x="291116" y="171672"/>
                  <a:pt x="291116" y="171799"/>
                </a:cubicBezTo>
                <a:cubicBezTo>
                  <a:pt x="291116" y="171926"/>
                  <a:pt x="291116" y="172212"/>
                  <a:pt x="291116" y="172403"/>
                </a:cubicBezTo>
                <a:cubicBezTo>
                  <a:pt x="291779" y="197913"/>
                  <a:pt x="283032" y="222776"/>
                  <a:pt x="266541" y="242253"/>
                </a:cubicBezTo>
                <a:cubicBezTo>
                  <a:pt x="266097" y="242761"/>
                  <a:pt x="265716" y="243142"/>
                  <a:pt x="265621" y="243237"/>
                </a:cubicBezTo>
                <a:lnTo>
                  <a:pt x="264382" y="244824"/>
                </a:lnTo>
                <a:cubicBezTo>
                  <a:pt x="264382" y="245015"/>
                  <a:pt x="251270" y="265049"/>
                  <a:pt x="231966" y="267399"/>
                </a:cubicBezTo>
                <a:cubicBezTo>
                  <a:pt x="212693" y="265049"/>
                  <a:pt x="199708" y="245174"/>
                  <a:pt x="199581" y="244824"/>
                </a:cubicBezTo>
                <a:lnTo>
                  <a:pt x="198342" y="243269"/>
                </a:lnTo>
                <a:lnTo>
                  <a:pt x="197422" y="242284"/>
                </a:lnTo>
                <a:cubicBezTo>
                  <a:pt x="180942" y="222802"/>
                  <a:pt x="172196" y="197943"/>
                  <a:pt x="172847" y="172434"/>
                </a:cubicBezTo>
                <a:lnTo>
                  <a:pt x="172847" y="172434"/>
                </a:lnTo>
                <a:lnTo>
                  <a:pt x="172847" y="172434"/>
                </a:lnTo>
                <a:cubicBezTo>
                  <a:pt x="179800" y="162878"/>
                  <a:pt x="201390" y="152654"/>
                  <a:pt x="232442" y="152654"/>
                </a:cubicBezTo>
                <a:close/>
                <a:moveTo>
                  <a:pt x="176340" y="147638"/>
                </a:moveTo>
                <a:lnTo>
                  <a:pt x="180150" y="114300"/>
                </a:lnTo>
                <a:lnTo>
                  <a:pt x="181674" y="101060"/>
                </a:lnTo>
                <a:lnTo>
                  <a:pt x="189770" y="83725"/>
                </a:lnTo>
                <a:lnTo>
                  <a:pt x="274257" y="83725"/>
                </a:lnTo>
                <a:lnTo>
                  <a:pt x="282353" y="101060"/>
                </a:lnTo>
                <a:lnTo>
                  <a:pt x="283877" y="114300"/>
                </a:lnTo>
                <a:lnTo>
                  <a:pt x="287623" y="147161"/>
                </a:lnTo>
                <a:cubicBezTo>
                  <a:pt x="273749" y="139478"/>
                  <a:pt x="254603" y="134779"/>
                  <a:pt x="232442" y="134779"/>
                </a:cubicBezTo>
                <a:cubicBezTo>
                  <a:pt x="210280" y="134779"/>
                  <a:pt x="190278" y="139700"/>
                  <a:pt x="176340" y="147638"/>
                </a:cubicBezTo>
                <a:close/>
                <a:moveTo>
                  <a:pt x="232029" y="285560"/>
                </a:moveTo>
                <a:lnTo>
                  <a:pt x="232029" y="285560"/>
                </a:lnTo>
                <a:cubicBezTo>
                  <a:pt x="241247" y="284738"/>
                  <a:pt x="250101" y="281568"/>
                  <a:pt x="257747" y="276352"/>
                </a:cubicBezTo>
                <a:lnTo>
                  <a:pt x="257747" y="298069"/>
                </a:lnTo>
                <a:lnTo>
                  <a:pt x="231997" y="336772"/>
                </a:lnTo>
                <a:lnTo>
                  <a:pt x="206375" y="298069"/>
                </a:lnTo>
                <a:lnTo>
                  <a:pt x="206375" y="276225"/>
                </a:lnTo>
                <a:cubicBezTo>
                  <a:pt x="214020" y="281441"/>
                  <a:pt x="222874" y="284611"/>
                  <a:pt x="232093" y="285433"/>
                </a:cubicBezTo>
                <a:close/>
                <a:moveTo>
                  <a:pt x="302768" y="383985"/>
                </a:moveTo>
                <a:cubicBezTo>
                  <a:pt x="308870" y="383985"/>
                  <a:pt x="313817" y="388931"/>
                  <a:pt x="313817" y="395034"/>
                </a:cubicBezTo>
                <a:cubicBezTo>
                  <a:pt x="313817" y="401136"/>
                  <a:pt x="308870" y="406083"/>
                  <a:pt x="302768" y="406083"/>
                </a:cubicBezTo>
                <a:cubicBezTo>
                  <a:pt x="296666" y="406083"/>
                  <a:pt x="291719" y="401136"/>
                  <a:pt x="291719" y="395034"/>
                </a:cubicBezTo>
                <a:cubicBezTo>
                  <a:pt x="291702" y="388931"/>
                  <a:pt x="296634" y="383972"/>
                  <a:pt x="302736" y="383953"/>
                </a:cubicBezTo>
                <a:cubicBezTo>
                  <a:pt x="302747" y="383953"/>
                  <a:pt x="302758" y="383953"/>
                  <a:pt x="302768" y="383953"/>
                </a:cubicBezTo>
                <a:close/>
                <a:moveTo>
                  <a:pt x="439293" y="439357"/>
                </a:moveTo>
                <a:lnTo>
                  <a:pt x="397066" y="439357"/>
                </a:lnTo>
                <a:lnTo>
                  <a:pt x="397066" y="384620"/>
                </a:lnTo>
                <a:cubicBezTo>
                  <a:pt x="398526" y="349980"/>
                  <a:pt x="370999" y="339503"/>
                  <a:pt x="370681" y="339439"/>
                </a:cubicBezTo>
                <a:lnTo>
                  <a:pt x="275622" y="293053"/>
                </a:lnTo>
                <a:lnTo>
                  <a:pt x="275622" y="259779"/>
                </a:lnTo>
                <a:cubicBezTo>
                  <a:pt x="277178" y="257842"/>
                  <a:pt x="278416" y="256159"/>
                  <a:pt x="279019" y="255238"/>
                </a:cubicBezTo>
                <a:cubicBezTo>
                  <a:pt x="298821" y="232494"/>
                  <a:pt x="309498" y="203222"/>
                  <a:pt x="308991" y="173069"/>
                </a:cubicBezTo>
                <a:cubicBezTo>
                  <a:pt x="308991" y="172815"/>
                  <a:pt x="308991" y="172530"/>
                  <a:pt x="308991" y="172276"/>
                </a:cubicBezTo>
                <a:cubicBezTo>
                  <a:pt x="308991" y="172022"/>
                  <a:pt x="308991" y="171990"/>
                  <a:pt x="308991" y="171863"/>
                </a:cubicBezTo>
                <a:cubicBezTo>
                  <a:pt x="309008" y="171535"/>
                  <a:pt x="309008" y="171206"/>
                  <a:pt x="308991" y="170879"/>
                </a:cubicBezTo>
                <a:cubicBezTo>
                  <a:pt x="308991" y="168529"/>
                  <a:pt x="308801" y="166148"/>
                  <a:pt x="308610" y="163703"/>
                </a:cubicBezTo>
                <a:cubicBezTo>
                  <a:pt x="308610" y="163100"/>
                  <a:pt x="308610" y="162497"/>
                  <a:pt x="308610" y="161893"/>
                </a:cubicBezTo>
                <a:lnTo>
                  <a:pt x="308293" y="161893"/>
                </a:lnTo>
                <a:cubicBezTo>
                  <a:pt x="307797" y="158280"/>
                  <a:pt x="307054" y="154705"/>
                  <a:pt x="306070" y="151194"/>
                </a:cubicBezTo>
                <a:lnTo>
                  <a:pt x="299942" y="97695"/>
                </a:lnTo>
                <a:lnTo>
                  <a:pt x="285750" y="65977"/>
                </a:lnTo>
                <a:lnTo>
                  <a:pt x="178403" y="65977"/>
                </a:lnTo>
                <a:lnTo>
                  <a:pt x="164878" y="94933"/>
                </a:lnTo>
                <a:lnTo>
                  <a:pt x="158052" y="151098"/>
                </a:lnTo>
                <a:cubicBezTo>
                  <a:pt x="157042" y="154638"/>
                  <a:pt x="156288" y="158245"/>
                  <a:pt x="155797" y="161893"/>
                </a:cubicBezTo>
                <a:lnTo>
                  <a:pt x="155797" y="161893"/>
                </a:lnTo>
                <a:cubicBezTo>
                  <a:pt x="155797" y="162497"/>
                  <a:pt x="155797" y="163100"/>
                  <a:pt x="155797" y="163703"/>
                </a:cubicBezTo>
                <a:cubicBezTo>
                  <a:pt x="155607" y="166148"/>
                  <a:pt x="155448" y="168529"/>
                  <a:pt x="155385" y="170879"/>
                </a:cubicBezTo>
                <a:cubicBezTo>
                  <a:pt x="155385" y="171196"/>
                  <a:pt x="155385" y="171514"/>
                  <a:pt x="155385" y="171863"/>
                </a:cubicBezTo>
                <a:cubicBezTo>
                  <a:pt x="155385" y="172212"/>
                  <a:pt x="155385" y="172117"/>
                  <a:pt x="155385" y="172276"/>
                </a:cubicBezTo>
                <a:cubicBezTo>
                  <a:pt x="155369" y="172540"/>
                  <a:pt x="155369" y="172805"/>
                  <a:pt x="155385" y="173069"/>
                </a:cubicBezTo>
                <a:cubicBezTo>
                  <a:pt x="154878" y="203222"/>
                  <a:pt x="165555" y="232494"/>
                  <a:pt x="185357" y="255238"/>
                </a:cubicBezTo>
                <a:cubicBezTo>
                  <a:pt x="185960" y="256159"/>
                  <a:pt x="187198" y="257842"/>
                  <a:pt x="188754" y="259779"/>
                </a:cubicBezTo>
                <a:lnTo>
                  <a:pt x="188754" y="293465"/>
                </a:lnTo>
                <a:lnTo>
                  <a:pt x="95060" y="339058"/>
                </a:lnTo>
                <a:cubicBezTo>
                  <a:pt x="93885" y="339503"/>
                  <a:pt x="66485" y="349980"/>
                  <a:pt x="67850" y="384239"/>
                </a:cubicBezTo>
                <a:lnTo>
                  <a:pt x="67850" y="439325"/>
                </a:lnTo>
                <a:lnTo>
                  <a:pt x="17844" y="439325"/>
                </a:lnTo>
                <a:lnTo>
                  <a:pt x="17844" y="17844"/>
                </a:lnTo>
                <a:lnTo>
                  <a:pt x="439357" y="178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331;p177">
            <a:extLst>
              <a:ext uri="{FF2B5EF4-FFF2-40B4-BE49-F238E27FC236}">
                <a16:creationId xmlns:a16="http://schemas.microsoft.com/office/drawing/2014/main" id="{FF6AB91A-B2EF-4716-BC3A-4CAB8455481D}"/>
              </a:ext>
            </a:extLst>
          </p:cNvPr>
          <p:cNvSpPr/>
          <p:nvPr/>
        </p:nvSpPr>
        <p:spPr>
          <a:xfrm>
            <a:off x="3654920" y="4804259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300" y="432"/>
                </a:moveTo>
                <a:cubicBezTo>
                  <a:pt x="301" y="428"/>
                  <a:pt x="304" y="406"/>
                  <a:pt x="306" y="393"/>
                </a:cubicBezTo>
                <a:cubicBezTo>
                  <a:pt x="307" y="383"/>
                  <a:pt x="316" y="374"/>
                  <a:pt x="328" y="369"/>
                </a:cubicBezTo>
                <a:cubicBezTo>
                  <a:pt x="340" y="365"/>
                  <a:pt x="356" y="359"/>
                  <a:pt x="374" y="353"/>
                </a:cubicBezTo>
                <a:cubicBezTo>
                  <a:pt x="375" y="353"/>
                  <a:pt x="375" y="353"/>
                  <a:pt x="375" y="353"/>
                </a:cubicBezTo>
                <a:cubicBezTo>
                  <a:pt x="376" y="353"/>
                  <a:pt x="376" y="352"/>
                  <a:pt x="377" y="352"/>
                </a:cubicBezTo>
                <a:cubicBezTo>
                  <a:pt x="384" y="362"/>
                  <a:pt x="393" y="367"/>
                  <a:pt x="406" y="367"/>
                </a:cubicBezTo>
                <a:cubicBezTo>
                  <a:pt x="419" y="367"/>
                  <a:pt x="429" y="362"/>
                  <a:pt x="435" y="352"/>
                </a:cubicBezTo>
                <a:cubicBezTo>
                  <a:pt x="436" y="352"/>
                  <a:pt x="437" y="353"/>
                  <a:pt x="437" y="353"/>
                </a:cubicBezTo>
                <a:cubicBezTo>
                  <a:pt x="439" y="353"/>
                  <a:pt x="439" y="353"/>
                  <a:pt x="439" y="353"/>
                </a:cubicBezTo>
                <a:cubicBezTo>
                  <a:pt x="449" y="357"/>
                  <a:pt x="469" y="363"/>
                  <a:pt x="484" y="369"/>
                </a:cubicBezTo>
                <a:cubicBezTo>
                  <a:pt x="497" y="374"/>
                  <a:pt x="506" y="383"/>
                  <a:pt x="507" y="393"/>
                </a:cubicBezTo>
                <a:cubicBezTo>
                  <a:pt x="508" y="406"/>
                  <a:pt x="523" y="524"/>
                  <a:pt x="526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32"/>
                </a:lnTo>
                <a:close/>
                <a:moveTo>
                  <a:pt x="276" y="551"/>
                </a:moveTo>
                <a:cubicBezTo>
                  <a:pt x="50" y="551"/>
                  <a:pt x="50" y="551"/>
                  <a:pt x="50" y="551"/>
                </a:cubicBezTo>
                <a:cubicBezTo>
                  <a:pt x="54" y="514"/>
                  <a:pt x="68" y="405"/>
                  <a:pt x="69" y="393"/>
                </a:cubicBezTo>
                <a:cubicBezTo>
                  <a:pt x="70" y="383"/>
                  <a:pt x="79" y="374"/>
                  <a:pt x="92" y="369"/>
                </a:cubicBezTo>
                <a:cubicBezTo>
                  <a:pt x="107" y="363"/>
                  <a:pt x="127" y="357"/>
                  <a:pt x="137" y="353"/>
                </a:cubicBezTo>
                <a:cubicBezTo>
                  <a:pt x="139" y="353"/>
                  <a:pt x="139" y="353"/>
                  <a:pt x="139" y="353"/>
                </a:cubicBezTo>
                <a:cubicBezTo>
                  <a:pt x="139" y="353"/>
                  <a:pt x="140" y="352"/>
                  <a:pt x="141" y="352"/>
                </a:cubicBezTo>
                <a:cubicBezTo>
                  <a:pt x="147" y="362"/>
                  <a:pt x="157" y="367"/>
                  <a:pt x="170" y="367"/>
                </a:cubicBezTo>
                <a:cubicBezTo>
                  <a:pt x="183" y="367"/>
                  <a:pt x="192" y="362"/>
                  <a:pt x="199" y="352"/>
                </a:cubicBezTo>
                <a:cubicBezTo>
                  <a:pt x="200" y="352"/>
                  <a:pt x="200" y="353"/>
                  <a:pt x="201" y="353"/>
                </a:cubicBezTo>
                <a:cubicBezTo>
                  <a:pt x="202" y="353"/>
                  <a:pt x="202" y="353"/>
                  <a:pt x="202" y="353"/>
                </a:cubicBezTo>
                <a:cubicBezTo>
                  <a:pt x="220" y="359"/>
                  <a:pt x="236" y="365"/>
                  <a:pt x="248" y="369"/>
                </a:cubicBezTo>
                <a:cubicBezTo>
                  <a:pt x="260" y="374"/>
                  <a:pt x="269" y="383"/>
                  <a:pt x="270" y="393"/>
                </a:cubicBezTo>
                <a:cubicBezTo>
                  <a:pt x="272" y="406"/>
                  <a:pt x="275" y="428"/>
                  <a:pt x="276" y="432"/>
                </a:cubicBezTo>
                <a:lnTo>
                  <a:pt x="276" y="551"/>
                </a:lnTo>
                <a:close/>
                <a:moveTo>
                  <a:pt x="551" y="551"/>
                </a:moveTo>
                <a:cubicBezTo>
                  <a:pt x="551" y="551"/>
                  <a:pt x="551" y="551"/>
                  <a:pt x="551" y="551"/>
                </a:cubicBezTo>
                <a:cubicBezTo>
                  <a:pt x="549" y="532"/>
                  <a:pt x="533" y="403"/>
                  <a:pt x="531" y="390"/>
                </a:cubicBezTo>
                <a:cubicBezTo>
                  <a:pt x="529" y="371"/>
                  <a:pt x="514" y="354"/>
                  <a:pt x="493" y="346"/>
                </a:cubicBezTo>
                <a:cubicBezTo>
                  <a:pt x="477" y="340"/>
                  <a:pt x="457" y="333"/>
                  <a:pt x="446" y="330"/>
                </a:cubicBezTo>
                <a:cubicBezTo>
                  <a:pt x="445" y="330"/>
                  <a:pt x="445" y="330"/>
                  <a:pt x="445" y="330"/>
                </a:cubicBezTo>
                <a:cubicBezTo>
                  <a:pt x="432" y="325"/>
                  <a:pt x="422" y="328"/>
                  <a:pt x="415" y="338"/>
                </a:cubicBezTo>
                <a:cubicBezTo>
                  <a:pt x="413" y="341"/>
                  <a:pt x="411" y="342"/>
                  <a:pt x="406" y="342"/>
                </a:cubicBezTo>
                <a:cubicBezTo>
                  <a:pt x="401" y="342"/>
                  <a:pt x="399" y="341"/>
                  <a:pt x="397" y="338"/>
                </a:cubicBezTo>
                <a:cubicBezTo>
                  <a:pt x="390" y="328"/>
                  <a:pt x="380" y="325"/>
                  <a:pt x="367" y="330"/>
                </a:cubicBezTo>
                <a:cubicBezTo>
                  <a:pt x="366" y="330"/>
                  <a:pt x="366" y="330"/>
                  <a:pt x="366" y="330"/>
                </a:cubicBezTo>
                <a:cubicBezTo>
                  <a:pt x="348" y="336"/>
                  <a:pt x="331" y="342"/>
                  <a:pt x="320" y="346"/>
                </a:cubicBezTo>
                <a:cubicBezTo>
                  <a:pt x="306" y="351"/>
                  <a:pt x="295" y="360"/>
                  <a:pt x="288" y="371"/>
                </a:cubicBezTo>
                <a:cubicBezTo>
                  <a:pt x="281" y="360"/>
                  <a:pt x="270" y="351"/>
                  <a:pt x="256" y="346"/>
                </a:cubicBezTo>
                <a:cubicBezTo>
                  <a:pt x="245" y="342"/>
                  <a:pt x="228" y="336"/>
                  <a:pt x="210" y="330"/>
                </a:cubicBezTo>
                <a:cubicBezTo>
                  <a:pt x="209" y="330"/>
                  <a:pt x="209" y="330"/>
                  <a:pt x="209" y="330"/>
                </a:cubicBezTo>
                <a:cubicBezTo>
                  <a:pt x="196" y="325"/>
                  <a:pt x="186" y="328"/>
                  <a:pt x="179" y="338"/>
                </a:cubicBezTo>
                <a:cubicBezTo>
                  <a:pt x="177" y="341"/>
                  <a:pt x="175" y="342"/>
                  <a:pt x="170" y="342"/>
                </a:cubicBezTo>
                <a:cubicBezTo>
                  <a:pt x="165" y="342"/>
                  <a:pt x="163" y="341"/>
                  <a:pt x="161" y="338"/>
                </a:cubicBezTo>
                <a:cubicBezTo>
                  <a:pt x="154" y="328"/>
                  <a:pt x="144" y="325"/>
                  <a:pt x="131" y="330"/>
                </a:cubicBezTo>
                <a:cubicBezTo>
                  <a:pt x="130" y="330"/>
                  <a:pt x="130" y="330"/>
                  <a:pt x="130" y="330"/>
                </a:cubicBezTo>
                <a:cubicBezTo>
                  <a:pt x="119" y="333"/>
                  <a:pt x="99" y="340"/>
                  <a:pt x="83" y="346"/>
                </a:cubicBezTo>
                <a:cubicBezTo>
                  <a:pt x="62" y="354"/>
                  <a:pt x="47" y="371"/>
                  <a:pt x="45" y="390"/>
                </a:cubicBezTo>
                <a:cubicBezTo>
                  <a:pt x="44" y="402"/>
                  <a:pt x="29" y="518"/>
                  <a:pt x="25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551"/>
                </a:lnTo>
                <a:close/>
                <a:moveTo>
                  <a:pt x="170" y="311"/>
                </a:moveTo>
                <a:cubicBezTo>
                  <a:pt x="218" y="311"/>
                  <a:pt x="257" y="272"/>
                  <a:pt x="257" y="224"/>
                </a:cubicBezTo>
                <a:cubicBezTo>
                  <a:pt x="257" y="223"/>
                  <a:pt x="257" y="223"/>
                  <a:pt x="257" y="222"/>
                </a:cubicBezTo>
                <a:cubicBezTo>
                  <a:pt x="257" y="222"/>
                  <a:pt x="257" y="221"/>
                  <a:pt x="257" y="221"/>
                </a:cubicBezTo>
                <a:cubicBezTo>
                  <a:pt x="257" y="221"/>
                  <a:pt x="257" y="220"/>
                  <a:pt x="257" y="220"/>
                </a:cubicBezTo>
                <a:cubicBezTo>
                  <a:pt x="257" y="218"/>
                  <a:pt x="257" y="216"/>
                  <a:pt x="257" y="214"/>
                </a:cubicBezTo>
                <a:cubicBezTo>
                  <a:pt x="256" y="213"/>
                  <a:pt x="256" y="212"/>
                  <a:pt x="256" y="211"/>
                </a:cubicBezTo>
                <a:cubicBezTo>
                  <a:pt x="256" y="209"/>
                  <a:pt x="256" y="208"/>
                  <a:pt x="255" y="206"/>
                </a:cubicBezTo>
                <a:cubicBezTo>
                  <a:pt x="249" y="173"/>
                  <a:pt x="224" y="148"/>
                  <a:pt x="192" y="139"/>
                </a:cubicBezTo>
                <a:cubicBezTo>
                  <a:pt x="192" y="139"/>
                  <a:pt x="191" y="139"/>
                  <a:pt x="190" y="139"/>
                </a:cubicBezTo>
                <a:cubicBezTo>
                  <a:pt x="189" y="138"/>
                  <a:pt x="187" y="138"/>
                  <a:pt x="185" y="138"/>
                </a:cubicBezTo>
                <a:cubicBezTo>
                  <a:pt x="183" y="137"/>
                  <a:pt x="182" y="137"/>
                  <a:pt x="180" y="137"/>
                </a:cubicBezTo>
                <a:cubicBezTo>
                  <a:pt x="179" y="137"/>
                  <a:pt x="179" y="137"/>
                  <a:pt x="178" y="137"/>
                </a:cubicBezTo>
                <a:cubicBezTo>
                  <a:pt x="175" y="137"/>
                  <a:pt x="173" y="136"/>
                  <a:pt x="170" y="136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8" y="136"/>
                  <a:pt x="147" y="139"/>
                  <a:pt x="137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4" y="144"/>
                  <a:pt x="133" y="145"/>
                  <a:pt x="131" y="146"/>
                </a:cubicBezTo>
                <a:cubicBezTo>
                  <a:pt x="130" y="146"/>
                  <a:pt x="129" y="146"/>
                  <a:pt x="129" y="147"/>
                </a:cubicBezTo>
                <a:cubicBezTo>
                  <a:pt x="127" y="147"/>
                  <a:pt x="126" y="148"/>
                  <a:pt x="125" y="149"/>
                </a:cubicBezTo>
                <a:cubicBezTo>
                  <a:pt x="124" y="150"/>
                  <a:pt x="123" y="150"/>
                  <a:pt x="121" y="151"/>
                </a:cubicBezTo>
                <a:cubicBezTo>
                  <a:pt x="121" y="151"/>
                  <a:pt x="121" y="152"/>
                  <a:pt x="120" y="152"/>
                </a:cubicBezTo>
                <a:cubicBezTo>
                  <a:pt x="109" y="160"/>
                  <a:pt x="100" y="170"/>
                  <a:pt x="93" y="182"/>
                </a:cubicBezTo>
                <a:cubicBezTo>
                  <a:pt x="93" y="182"/>
                  <a:pt x="93" y="182"/>
                  <a:pt x="93" y="183"/>
                </a:cubicBezTo>
                <a:cubicBezTo>
                  <a:pt x="92" y="185"/>
                  <a:pt x="91" y="187"/>
                  <a:pt x="90" y="189"/>
                </a:cubicBezTo>
                <a:cubicBezTo>
                  <a:pt x="90" y="189"/>
                  <a:pt x="89" y="190"/>
                  <a:pt x="89" y="191"/>
                </a:cubicBezTo>
                <a:cubicBezTo>
                  <a:pt x="88" y="192"/>
                  <a:pt x="88" y="193"/>
                  <a:pt x="88" y="195"/>
                </a:cubicBezTo>
                <a:cubicBezTo>
                  <a:pt x="87" y="196"/>
                  <a:pt x="87" y="197"/>
                  <a:pt x="86" y="198"/>
                </a:cubicBezTo>
                <a:cubicBezTo>
                  <a:pt x="86" y="199"/>
                  <a:pt x="86" y="200"/>
                  <a:pt x="86" y="201"/>
                </a:cubicBezTo>
                <a:cubicBezTo>
                  <a:pt x="85" y="203"/>
                  <a:pt x="85" y="204"/>
                  <a:pt x="84" y="206"/>
                </a:cubicBezTo>
                <a:cubicBezTo>
                  <a:pt x="84" y="207"/>
                  <a:pt x="84" y="208"/>
                  <a:pt x="84" y="208"/>
                </a:cubicBezTo>
                <a:cubicBezTo>
                  <a:pt x="84" y="210"/>
                  <a:pt x="83" y="211"/>
                  <a:pt x="83" y="212"/>
                </a:cubicBezTo>
                <a:cubicBezTo>
                  <a:pt x="83" y="213"/>
                  <a:pt x="83" y="214"/>
                  <a:pt x="83" y="215"/>
                </a:cubicBezTo>
                <a:cubicBezTo>
                  <a:pt x="83" y="217"/>
                  <a:pt x="83" y="218"/>
                  <a:pt x="83" y="220"/>
                </a:cubicBezTo>
                <a:cubicBezTo>
                  <a:pt x="83" y="221"/>
                  <a:pt x="83" y="221"/>
                  <a:pt x="83" y="221"/>
                </a:cubicBezTo>
                <a:cubicBezTo>
                  <a:pt x="83" y="222"/>
                  <a:pt x="83" y="222"/>
                  <a:pt x="83" y="222"/>
                </a:cubicBezTo>
                <a:cubicBezTo>
                  <a:pt x="83" y="222"/>
                  <a:pt x="83" y="223"/>
                  <a:pt x="83" y="224"/>
                </a:cubicBezTo>
                <a:cubicBezTo>
                  <a:pt x="83" y="272"/>
                  <a:pt x="122" y="311"/>
                  <a:pt x="170" y="311"/>
                </a:cubicBezTo>
                <a:close/>
                <a:moveTo>
                  <a:pt x="112" y="200"/>
                </a:moveTo>
                <a:cubicBezTo>
                  <a:pt x="112" y="199"/>
                  <a:pt x="112" y="199"/>
                  <a:pt x="112" y="199"/>
                </a:cubicBezTo>
                <a:cubicBezTo>
                  <a:pt x="117" y="188"/>
                  <a:pt x="125" y="179"/>
                  <a:pt x="135" y="172"/>
                </a:cubicBezTo>
                <a:cubicBezTo>
                  <a:pt x="135" y="172"/>
                  <a:pt x="135" y="172"/>
                  <a:pt x="135" y="172"/>
                </a:cubicBezTo>
                <a:cubicBezTo>
                  <a:pt x="136" y="171"/>
                  <a:pt x="136" y="171"/>
                  <a:pt x="137" y="171"/>
                </a:cubicBezTo>
                <a:cubicBezTo>
                  <a:pt x="132" y="184"/>
                  <a:pt x="123" y="195"/>
                  <a:pt x="111" y="202"/>
                </a:cubicBezTo>
                <a:cubicBezTo>
                  <a:pt x="111" y="201"/>
                  <a:pt x="112" y="200"/>
                  <a:pt x="112" y="200"/>
                </a:cubicBezTo>
                <a:close/>
                <a:moveTo>
                  <a:pt x="170" y="161"/>
                </a:moveTo>
                <a:cubicBezTo>
                  <a:pt x="170" y="161"/>
                  <a:pt x="170" y="161"/>
                  <a:pt x="170" y="161"/>
                </a:cubicBezTo>
                <a:cubicBezTo>
                  <a:pt x="172" y="161"/>
                  <a:pt x="174" y="161"/>
                  <a:pt x="176" y="161"/>
                </a:cubicBezTo>
                <a:cubicBezTo>
                  <a:pt x="176" y="161"/>
                  <a:pt x="176" y="161"/>
                  <a:pt x="177" y="161"/>
                </a:cubicBezTo>
                <a:cubicBezTo>
                  <a:pt x="204" y="164"/>
                  <a:pt x="226" y="185"/>
                  <a:pt x="231" y="211"/>
                </a:cubicBezTo>
                <a:cubicBezTo>
                  <a:pt x="230" y="211"/>
                  <a:pt x="229" y="211"/>
                  <a:pt x="227" y="211"/>
                </a:cubicBezTo>
                <a:cubicBezTo>
                  <a:pt x="197" y="211"/>
                  <a:pt x="172" y="190"/>
                  <a:pt x="166" y="161"/>
                </a:cubicBezTo>
                <a:cubicBezTo>
                  <a:pt x="167" y="161"/>
                  <a:pt x="168" y="161"/>
                  <a:pt x="170" y="161"/>
                </a:cubicBezTo>
                <a:close/>
                <a:moveTo>
                  <a:pt x="170" y="286"/>
                </a:moveTo>
                <a:cubicBezTo>
                  <a:pt x="138" y="286"/>
                  <a:pt x="111" y="262"/>
                  <a:pt x="108" y="231"/>
                </a:cubicBezTo>
                <a:cubicBezTo>
                  <a:pt x="127" y="224"/>
                  <a:pt x="143" y="211"/>
                  <a:pt x="153" y="194"/>
                </a:cubicBezTo>
                <a:cubicBezTo>
                  <a:pt x="168" y="219"/>
                  <a:pt x="196" y="236"/>
                  <a:pt x="227" y="236"/>
                </a:cubicBezTo>
                <a:cubicBezTo>
                  <a:pt x="229" y="236"/>
                  <a:pt x="230" y="236"/>
                  <a:pt x="231" y="236"/>
                </a:cubicBezTo>
                <a:cubicBezTo>
                  <a:pt x="226" y="265"/>
                  <a:pt x="200" y="286"/>
                  <a:pt x="170" y="286"/>
                </a:cubicBezTo>
                <a:close/>
                <a:moveTo>
                  <a:pt x="291" y="311"/>
                </a:moveTo>
                <a:cubicBezTo>
                  <a:pt x="332" y="311"/>
                  <a:pt x="332" y="311"/>
                  <a:pt x="332" y="311"/>
                </a:cubicBezTo>
                <a:cubicBezTo>
                  <a:pt x="336" y="311"/>
                  <a:pt x="339" y="309"/>
                  <a:pt x="342" y="306"/>
                </a:cubicBezTo>
                <a:cubicBezTo>
                  <a:pt x="344" y="303"/>
                  <a:pt x="345" y="299"/>
                  <a:pt x="344" y="295"/>
                </a:cubicBezTo>
                <a:cubicBezTo>
                  <a:pt x="343" y="291"/>
                  <a:pt x="341" y="287"/>
                  <a:pt x="341" y="283"/>
                </a:cubicBezTo>
                <a:cubicBezTo>
                  <a:pt x="357" y="301"/>
                  <a:pt x="380" y="313"/>
                  <a:pt x="406" y="313"/>
                </a:cubicBezTo>
                <a:cubicBezTo>
                  <a:pt x="432" y="313"/>
                  <a:pt x="456" y="301"/>
                  <a:pt x="472" y="283"/>
                </a:cubicBezTo>
                <a:cubicBezTo>
                  <a:pt x="471" y="287"/>
                  <a:pt x="470" y="291"/>
                  <a:pt x="469" y="295"/>
                </a:cubicBezTo>
                <a:cubicBezTo>
                  <a:pt x="468" y="299"/>
                  <a:pt x="469" y="303"/>
                  <a:pt x="471" y="306"/>
                </a:cubicBezTo>
                <a:cubicBezTo>
                  <a:pt x="473" y="309"/>
                  <a:pt x="477" y="311"/>
                  <a:pt x="481" y="311"/>
                </a:cubicBezTo>
                <a:cubicBezTo>
                  <a:pt x="521" y="311"/>
                  <a:pt x="521" y="311"/>
                  <a:pt x="521" y="311"/>
                </a:cubicBezTo>
                <a:cubicBezTo>
                  <a:pt x="528" y="311"/>
                  <a:pt x="533" y="305"/>
                  <a:pt x="533" y="299"/>
                </a:cubicBezTo>
                <a:cubicBezTo>
                  <a:pt x="533" y="253"/>
                  <a:pt x="525" y="224"/>
                  <a:pt x="507" y="212"/>
                </a:cubicBezTo>
                <a:cubicBezTo>
                  <a:pt x="501" y="208"/>
                  <a:pt x="496" y="206"/>
                  <a:pt x="491" y="206"/>
                </a:cubicBezTo>
                <a:cubicBezTo>
                  <a:pt x="483" y="170"/>
                  <a:pt x="452" y="143"/>
                  <a:pt x="415" y="139"/>
                </a:cubicBezTo>
                <a:cubicBezTo>
                  <a:pt x="412" y="139"/>
                  <a:pt x="409" y="138"/>
                  <a:pt x="406" y="138"/>
                </a:cubicBezTo>
                <a:cubicBezTo>
                  <a:pt x="406" y="138"/>
                  <a:pt x="406" y="138"/>
                  <a:pt x="406" y="138"/>
                </a:cubicBezTo>
                <a:cubicBezTo>
                  <a:pt x="406" y="138"/>
                  <a:pt x="406" y="138"/>
                  <a:pt x="406" y="138"/>
                </a:cubicBezTo>
                <a:cubicBezTo>
                  <a:pt x="406" y="138"/>
                  <a:pt x="406" y="138"/>
                  <a:pt x="406" y="138"/>
                </a:cubicBezTo>
                <a:cubicBezTo>
                  <a:pt x="406" y="138"/>
                  <a:pt x="406" y="138"/>
                  <a:pt x="406" y="138"/>
                </a:cubicBezTo>
                <a:cubicBezTo>
                  <a:pt x="405" y="138"/>
                  <a:pt x="403" y="138"/>
                  <a:pt x="402" y="138"/>
                </a:cubicBezTo>
                <a:cubicBezTo>
                  <a:pt x="362" y="140"/>
                  <a:pt x="330" y="169"/>
                  <a:pt x="321" y="206"/>
                </a:cubicBezTo>
                <a:cubicBezTo>
                  <a:pt x="317" y="206"/>
                  <a:pt x="311" y="208"/>
                  <a:pt x="305" y="212"/>
                </a:cubicBezTo>
                <a:cubicBezTo>
                  <a:pt x="288" y="224"/>
                  <a:pt x="279" y="253"/>
                  <a:pt x="279" y="299"/>
                </a:cubicBezTo>
                <a:cubicBezTo>
                  <a:pt x="279" y="305"/>
                  <a:pt x="285" y="311"/>
                  <a:pt x="291" y="311"/>
                </a:cubicBezTo>
                <a:close/>
                <a:moveTo>
                  <a:pt x="346" y="207"/>
                </a:moveTo>
                <a:cubicBezTo>
                  <a:pt x="346" y="207"/>
                  <a:pt x="347" y="206"/>
                  <a:pt x="347" y="206"/>
                </a:cubicBezTo>
                <a:cubicBezTo>
                  <a:pt x="347" y="205"/>
                  <a:pt x="348" y="203"/>
                  <a:pt x="348" y="202"/>
                </a:cubicBezTo>
                <a:cubicBezTo>
                  <a:pt x="348" y="202"/>
                  <a:pt x="349" y="201"/>
                  <a:pt x="349" y="200"/>
                </a:cubicBezTo>
                <a:cubicBezTo>
                  <a:pt x="349" y="199"/>
                  <a:pt x="350" y="198"/>
                  <a:pt x="351" y="197"/>
                </a:cubicBezTo>
                <a:cubicBezTo>
                  <a:pt x="351" y="196"/>
                  <a:pt x="351" y="196"/>
                  <a:pt x="351" y="195"/>
                </a:cubicBezTo>
                <a:cubicBezTo>
                  <a:pt x="352" y="194"/>
                  <a:pt x="353" y="192"/>
                  <a:pt x="354" y="191"/>
                </a:cubicBezTo>
                <a:cubicBezTo>
                  <a:pt x="354" y="190"/>
                  <a:pt x="355" y="190"/>
                  <a:pt x="355" y="190"/>
                </a:cubicBezTo>
                <a:cubicBezTo>
                  <a:pt x="356" y="189"/>
                  <a:pt x="356" y="188"/>
                  <a:pt x="357" y="187"/>
                </a:cubicBezTo>
                <a:cubicBezTo>
                  <a:pt x="358" y="186"/>
                  <a:pt x="358" y="186"/>
                  <a:pt x="359" y="185"/>
                </a:cubicBezTo>
                <a:cubicBezTo>
                  <a:pt x="359" y="184"/>
                  <a:pt x="360" y="183"/>
                  <a:pt x="361" y="182"/>
                </a:cubicBezTo>
                <a:cubicBezTo>
                  <a:pt x="361" y="182"/>
                  <a:pt x="362" y="181"/>
                  <a:pt x="362" y="181"/>
                </a:cubicBezTo>
                <a:cubicBezTo>
                  <a:pt x="363" y="180"/>
                  <a:pt x="365" y="179"/>
                  <a:pt x="366" y="177"/>
                </a:cubicBezTo>
                <a:cubicBezTo>
                  <a:pt x="366" y="177"/>
                  <a:pt x="367" y="177"/>
                  <a:pt x="367" y="177"/>
                </a:cubicBezTo>
                <a:cubicBezTo>
                  <a:pt x="368" y="176"/>
                  <a:pt x="369" y="175"/>
                  <a:pt x="371" y="174"/>
                </a:cubicBezTo>
                <a:cubicBezTo>
                  <a:pt x="371" y="174"/>
                  <a:pt x="371" y="174"/>
                  <a:pt x="372" y="173"/>
                </a:cubicBezTo>
                <a:cubicBezTo>
                  <a:pt x="373" y="172"/>
                  <a:pt x="374" y="172"/>
                  <a:pt x="375" y="171"/>
                </a:cubicBezTo>
                <a:cubicBezTo>
                  <a:pt x="376" y="171"/>
                  <a:pt x="376" y="171"/>
                  <a:pt x="377" y="170"/>
                </a:cubicBezTo>
                <a:cubicBezTo>
                  <a:pt x="378" y="169"/>
                  <a:pt x="380" y="169"/>
                  <a:pt x="382" y="168"/>
                </a:cubicBezTo>
                <a:cubicBezTo>
                  <a:pt x="382" y="168"/>
                  <a:pt x="382" y="168"/>
                  <a:pt x="382" y="168"/>
                </a:cubicBezTo>
                <a:cubicBezTo>
                  <a:pt x="384" y="167"/>
                  <a:pt x="385" y="167"/>
                  <a:pt x="387" y="166"/>
                </a:cubicBezTo>
                <a:cubicBezTo>
                  <a:pt x="387" y="166"/>
                  <a:pt x="388" y="166"/>
                  <a:pt x="388" y="166"/>
                </a:cubicBezTo>
                <a:cubicBezTo>
                  <a:pt x="390" y="165"/>
                  <a:pt x="391" y="165"/>
                  <a:pt x="393" y="164"/>
                </a:cubicBezTo>
                <a:cubicBezTo>
                  <a:pt x="393" y="164"/>
                  <a:pt x="393" y="164"/>
                  <a:pt x="393" y="164"/>
                </a:cubicBezTo>
                <a:cubicBezTo>
                  <a:pt x="393" y="166"/>
                  <a:pt x="393" y="167"/>
                  <a:pt x="393" y="169"/>
                </a:cubicBezTo>
                <a:cubicBezTo>
                  <a:pt x="387" y="191"/>
                  <a:pt x="368" y="208"/>
                  <a:pt x="345" y="212"/>
                </a:cubicBezTo>
                <a:cubicBezTo>
                  <a:pt x="345" y="211"/>
                  <a:pt x="346" y="209"/>
                  <a:pt x="346" y="207"/>
                </a:cubicBezTo>
                <a:close/>
                <a:moveTo>
                  <a:pt x="424" y="166"/>
                </a:moveTo>
                <a:cubicBezTo>
                  <a:pt x="424" y="166"/>
                  <a:pt x="425" y="166"/>
                  <a:pt x="426" y="166"/>
                </a:cubicBezTo>
                <a:cubicBezTo>
                  <a:pt x="427" y="167"/>
                  <a:pt x="428" y="167"/>
                  <a:pt x="430" y="168"/>
                </a:cubicBezTo>
                <a:cubicBezTo>
                  <a:pt x="430" y="168"/>
                  <a:pt x="430" y="168"/>
                  <a:pt x="431" y="168"/>
                </a:cubicBezTo>
                <a:cubicBezTo>
                  <a:pt x="432" y="169"/>
                  <a:pt x="434" y="169"/>
                  <a:pt x="436" y="170"/>
                </a:cubicBezTo>
                <a:cubicBezTo>
                  <a:pt x="436" y="171"/>
                  <a:pt x="437" y="171"/>
                  <a:pt x="437" y="171"/>
                </a:cubicBezTo>
                <a:cubicBezTo>
                  <a:pt x="438" y="172"/>
                  <a:pt x="439" y="172"/>
                  <a:pt x="440" y="173"/>
                </a:cubicBezTo>
                <a:cubicBezTo>
                  <a:pt x="441" y="173"/>
                  <a:pt x="441" y="174"/>
                  <a:pt x="442" y="174"/>
                </a:cubicBezTo>
                <a:cubicBezTo>
                  <a:pt x="443" y="175"/>
                  <a:pt x="444" y="176"/>
                  <a:pt x="445" y="177"/>
                </a:cubicBezTo>
                <a:cubicBezTo>
                  <a:pt x="446" y="177"/>
                  <a:pt x="446" y="177"/>
                  <a:pt x="446" y="177"/>
                </a:cubicBezTo>
                <a:cubicBezTo>
                  <a:pt x="448" y="179"/>
                  <a:pt x="449" y="180"/>
                  <a:pt x="450" y="181"/>
                </a:cubicBezTo>
                <a:cubicBezTo>
                  <a:pt x="451" y="181"/>
                  <a:pt x="451" y="182"/>
                  <a:pt x="451" y="182"/>
                </a:cubicBezTo>
                <a:cubicBezTo>
                  <a:pt x="452" y="183"/>
                  <a:pt x="453" y="184"/>
                  <a:pt x="454" y="185"/>
                </a:cubicBezTo>
                <a:cubicBezTo>
                  <a:pt x="454" y="186"/>
                  <a:pt x="455" y="186"/>
                  <a:pt x="455" y="187"/>
                </a:cubicBezTo>
                <a:cubicBezTo>
                  <a:pt x="456" y="188"/>
                  <a:pt x="457" y="189"/>
                  <a:pt x="457" y="190"/>
                </a:cubicBezTo>
                <a:cubicBezTo>
                  <a:pt x="458" y="190"/>
                  <a:pt x="458" y="190"/>
                  <a:pt x="458" y="191"/>
                </a:cubicBezTo>
                <a:cubicBezTo>
                  <a:pt x="459" y="192"/>
                  <a:pt x="460" y="194"/>
                  <a:pt x="461" y="195"/>
                </a:cubicBezTo>
                <a:cubicBezTo>
                  <a:pt x="461" y="196"/>
                  <a:pt x="462" y="196"/>
                  <a:pt x="462" y="197"/>
                </a:cubicBezTo>
                <a:cubicBezTo>
                  <a:pt x="462" y="198"/>
                  <a:pt x="463" y="199"/>
                  <a:pt x="463" y="200"/>
                </a:cubicBezTo>
                <a:cubicBezTo>
                  <a:pt x="464" y="201"/>
                  <a:pt x="464" y="202"/>
                  <a:pt x="464" y="202"/>
                </a:cubicBezTo>
                <a:cubicBezTo>
                  <a:pt x="465" y="203"/>
                  <a:pt x="465" y="205"/>
                  <a:pt x="466" y="206"/>
                </a:cubicBezTo>
                <a:cubicBezTo>
                  <a:pt x="466" y="206"/>
                  <a:pt x="466" y="207"/>
                  <a:pt x="466" y="207"/>
                </a:cubicBezTo>
                <a:cubicBezTo>
                  <a:pt x="467" y="209"/>
                  <a:pt x="467" y="211"/>
                  <a:pt x="467" y="212"/>
                </a:cubicBezTo>
                <a:cubicBezTo>
                  <a:pt x="444" y="208"/>
                  <a:pt x="426" y="191"/>
                  <a:pt x="419" y="169"/>
                </a:cubicBezTo>
                <a:cubicBezTo>
                  <a:pt x="419" y="167"/>
                  <a:pt x="419" y="166"/>
                  <a:pt x="420" y="164"/>
                </a:cubicBezTo>
                <a:cubicBezTo>
                  <a:pt x="420" y="164"/>
                  <a:pt x="420" y="164"/>
                  <a:pt x="420" y="165"/>
                </a:cubicBezTo>
                <a:cubicBezTo>
                  <a:pt x="421" y="165"/>
                  <a:pt x="423" y="165"/>
                  <a:pt x="424" y="166"/>
                </a:cubicBezTo>
                <a:close/>
                <a:moveTo>
                  <a:pt x="406" y="288"/>
                </a:moveTo>
                <a:cubicBezTo>
                  <a:pt x="376" y="288"/>
                  <a:pt x="350" y="266"/>
                  <a:pt x="345" y="237"/>
                </a:cubicBezTo>
                <a:cubicBezTo>
                  <a:pt x="370" y="234"/>
                  <a:pt x="392" y="219"/>
                  <a:pt x="406" y="199"/>
                </a:cubicBezTo>
                <a:cubicBezTo>
                  <a:pt x="420" y="219"/>
                  <a:pt x="442" y="234"/>
                  <a:pt x="468" y="237"/>
                </a:cubicBezTo>
                <a:cubicBezTo>
                  <a:pt x="462" y="266"/>
                  <a:pt x="437" y="288"/>
                  <a:pt x="406" y="288"/>
                </a:cubicBezTo>
                <a:close/>
                <a:moveTo>
                  <a:pt x="503" y="248"/>
                </a:moveTo>
                <a:cubicBezTo>
                  <a:pt x="505" y="257"/>
                  <a:pt x="508" y="269"/>
                  <a:pt x="508" y="286"/>
                </a:cubicBezTo>
                <a:cubicBezTo>
                  <a:pt x="496" y="286"/>
                  <a:pt x="496" y="286"/>
                  <a:pt x="496" y="286"/>
                </a:cubicBezTo>
                <a:cubicBezTo>
                  <a:pt x="499" y="274"/>
                  <a:pt x="502" y="261"/>
                  <a:pt x="503" y="248"/>
                </a:cubicBezTo>
                <a:close/>
                <a:moveTo>
                  <a:pt x="310" y="248"/>
                </a:moveTo>
                <a:cubicBezTo>
                  <a:pt x="311" y="261"/>
                  <a:pt x="313" y="274"/>
                  <a:pt x="316" y="286"/>
                </a:cubicBezTo>
                <a:cubicBezTo>
                  <a:pt x="304" y="286"/>
                  <a:pt x="304" y="286"/>
                  <a:pt x="304" y="286"/>
                </a:cubicBezTo>
                <a:cubicBezTo>
                  <a:pt x="305" y="269"/>
                  <a:pt x="307" y="257"/>
                  <a:pt x="310" y="2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332;p177">
            <a:extLst>
              <a:ext uri="{FF2B5EF4-FFF2-40B4-BE49-F238E27FC236}">
                <a16:creationId xmlns:a16="http://schemas.microsoft.com/office/drawing/2014/main" id="{E5D75EC0-BF11-AE49-E673-80E2A798FC70}"/>
              </a:ext>
            </a:extLst>
          </p:cNvPr>
          <p:cNvSpPr/>
          <p:nvPr/>
        </p:nvSpPr>
        <p:spPr>
          <a:xfrm>
            <a:off x="8158569" y="4804245"/>
            <a:ext cx="456553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551"/>
                </a:lnTo>
                <a:close/>
                <a:moveTo>
                  <a:pt x="101" y="451"/>
                </a:moveTo>
                <a:cubicBezTo>
                  <a:pt x="475" y="451"/>
                  <a:pt x="475" y="451"/>
                  <a:pt x="475" y="451"/>
                </a:cubicBezTo>
                <a:cubicBezTo>
                  <a:pt x="501" y="451"/>
                  <a:pt x="522" y="430"/>
                  <a:pt x="522" y="404"/>
                </a:cubicBezTo>
                <a:cubicBezTo>
                  <a:pt x="522" y="381"/>
                  <a:pt x="506" y="362"/>
                  <a:pt x="484" y="358"/>
                </a:cubicBezTo>
                <a:cubicBezTo>
                  <a:pt x="480" y="263"/>
                  <a:pt x="430" y="180"/>
                  <a:pt x="356" y="147"/>
                </a:cubicBezTo>
                <a:cubicBezTo>
                  <a:pt x="347" y="129"/>
                  <a:pt x="330" y="117"/>
                  <a:pt x="309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45" y="117"/>
                  <a:pt x="227" y="129"/>
                  <a:pt x="219" y="147"/>
                </a:cubicBezTo>
                <a:cubicBezTo>
                  <a:pt x="145" y="180"/>
                  <a:pt x="95" y="263"/>
                  <a:pt x="91" y="359"/>
                </a:cubicBezTo>
                <a:cubicBezTo>
                  <a:pt x="70" y="363"/>
                  <a:pt x="54" y="382"/>
                  <a:pt x="54" y="404"/>
                </a:cubicBezTo>
                <a:cubicBezTo>
                  <a:pt x="54" y="430"/>
                  <a:pt x="75" y="451"/>
                  <a:pt x="101" y="451"/>
                </a:cubicBezTo>
                <a:close/>
                <a:moveTo>
                  <a:pt x="214" y="177"/>
                </a:moveTo>
                <a:cubicBezTo>
                  <a:pt x="214" y="281"/>
                  <a:pt x="214" y="281"/>
                  <a:pt x="214" y="281"/>
                </a:cubicBezTo>
                <a:cubicBezTo>
                  <a:pt x="239" y="281"/>
                  <a:pt x="239" y="281"/>
                  <a:pt x="239" y="281"/>
                </a:cubicBezTo>
                <a:cubicBezTo>
                  <a:pt x="239" y="169"/>
                  <a:pt x="239" y="169"/>
                  <a:pt x="239" y="169"/>
                </a:cubicBezTo>
                <a:cubicBezTo>
                  <a:pt x="239" y="154"/>
                  <a:pt x="251" y="141"/>
                  <a:pt x="266" y="141"/>
                </a:cubicBezTo>
                <a:cubicBezTo>
                  <a:pt x="309" y="141"/>
                  <a:pt x="309" y="141"/>
                  <a:pt x="309" y="141"/>
                </a:cubicBezTo>
                <a:cubicBezTo>
                  <a:pt x="324" y="141"/>
                  <a:pt x="336" y="154"/>
                  <a:pt x="336" y="169"/>
                </a:cubicBezTo>
                <a:cubicBezTo>
                  <a:pt x="336" y="281"/>
                  <a:pt x="336" y="281"/>
                  <a:pt x="336" y="281"/>
                </a:cubicBezTo>
                <a:cubicBezTo>
                  <a:pt x="360" y="281"/>
                  <a:pt x="360" y="281"/>
                  <a:pt x="360" y="281"/>
                </a:cubicBezTo>
                <a:cubicBezTo>
                  <a:pt x="360" y="177"/>
                  <a:pt x="360" y="177"/>
                  <a:pt x="360" y="177"/>
                </a:cubicBezTo>
                <a:cubicBezTo>
                  <a:pt x="417" y="210"/>
                  <a:pt x="455" y="279"/>
                  <a:pt x="459" y="357"/>
                </a:cubicBezTo>
                <a:cubicBezTo>
                  <a:pt x="116" y="357"/>
                  <a:pt x="116" y="357"/>
                  <a:pt x="116" y="357"/>
                </a:cubicBezTo>
                <a:cubicBezTo>
                  <a:pt x="119" y="279"/>
                  <a:pt x="157" y="210"/>
                  <a:pt x="214" y="177"/>
                </a:cubicBezTo>
                <a:close/>
                <a:moveTo>
                  <a:pt x="101" y="382"/>
                </a:moveTo>
                <a:cubicBezTo>
                  <a:pt x="475" y="382"/>
                  <a:pt x="475" y="382"/>
                  <a:pt x="475" y="382"/>
                </a:cubicBezTo>
                <a:cubicBezTo>
                  <a:pt x="488" y="382"/>
                  <a:pt x="498" y="392"/>
                  <a:pt x="498" y="404"/>
                </a:cubicBezTo>
                <a:cubicBezTo>
                  <a:pt x="498" y="417"/>
                  <a:pt x="488" y="427"/>
                  <a:pt x="475" y="427"/>
                </a:cubicBezTo>
                <a:cubicBezTo>
                  <a:pt x="101" y="427"/>
                  <a:pt x="101" y="427"/>
                  <a:pt x="101" y="427"/>
                </a:cubicBezTo>
                <a:cubicBezTo>
                  <a:pt x="88" y="427"/>
                  <a:pt x="78" y="417"/>
                  <a:pt x="78" y="404"/>
                </a:cubicBezTo>
                <a:cubicBezTo>
                  <a:pt x="78" y="392"/>
                  <a:pt x="88" y="382"/>
                  <a:pt x="101" y="382"/>
                </a:cubicBezTo>
                <a:close/>
                <a:moveTo>
                  <a:pt x="275" y="182"/>
                </a:moveTo>
                <a:cubicBezTo>
                  <a:pt x="300" y="182"/>
                  <a:pt x="300" y="182"/>
                  <a:pt x="300" y="182"/>
                </a:cubicBezTo>
                <a:cubicBezTo>
                  <a:pt x="300" y="309"/>
                  <a:pt x="300" y="309"/>
                  <a:pt x="300" y="309"/>
                </a:cubicBezTo>
                <a:cubicBezTo>
                  <a:pt x="275" y="309"/>
                  <a:pt x="275" y="309"/>
                  <a:pt x="275" y="309"/>
                </a:cubicBezTo>
                <a:lnTo>
                  <a:pt x="275" y="18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33;p177">
            <a:extLst>
              <a:ext uri="{FF2B5EF4-FFF2-40B4-BE49-F238E27FC236}">
                <a16:creationId xmlns:a16="http://schemas.microsoft.com/office/drawing/2014/main" id="{DF3F6968-F41B-17E5-0E67-659659E8CDE4}"/>
              </a:ext>
            </a:extLst>
          </p:cNvPr>
          <p:cNvSpPr/>
          <p:nvPr/>
        </p:nvSpPr>
        <p:spPr>
          <a:xfrm>
            <a:off x="9059862" y="4804245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704" y="156"/>
                </a:moveTo>
                <a:lnTo>
                  <a:pt x="353" y="0"/>
                </a:lnTo>
                <a:lnTo>
                  <a:pt x="0" y="156"/>
                </a:lnTo>
                <a:lnTo>
                  <a:pt x="1" y="156"/>
                </a:lnTo>
                <a:lnTo>
                  <a:pt x="0" y="156"/>
                </a:lnTo>
                <a:lnTo>
                  <a:pt x="0" y="550"/>
                </a:lnTo>
                <a:lnTo>
                  <a:pt x="352" y="706"/>
                </a:lnTo>
                <a:lnTo>
                  <a:pt x="352" y="706"/>
                </a:lnTo>
                <a:lnTo>
                  <a:pt x="704" y="550"/>
                </a:lnTo>
                <a:lnTo>
                  <a:pt x="704" y="156"/>
                </a:lnTo>
                <a:lnTo>
                  <a:pt x="704" y="156"/>
                </a:lnTo>
                <a:close/>
                <a:moveTo>
                  <a:pt x="353" y="33"/>
                </a:moveTo>
                <a:lnTo>
                  <a:pt x="649" y="164"/>
                </a:lnTo>
                <a:lnTo>
                  <a:pt x="352" y="295"/>
                </a:lnTo>
                <a:lnTo>
                  <a:pt x="56" y="164"/>
                </a:lnTo>
                <a:lnTo>
                  <a:pt x="353" y="33"/>
                </a:lnTo>
                <a:close/>
                <a:moveTo>
                  <a:pt x="31" y="186"/>
                </a:moveTo>
                <a:lnTo>
                  <a:pt x="337" y="322"/>
                </a:lnTo>
                <a:lnTo>
                  <a:pt x="337" y="665"/>
                </a:lnTo>
                <a:lnTo>
                  <a:pt x="31" y="531"/>
                </a:lnTo>
                <a:lnTo>
                  <a:pt x="31" y="186"/>
                </a:lnTo>
                <a:close/>
                <a:moveTo>
                  <a:pt x="368" y="665"/>
                </a:moveTo>
                <a:lnTo>
                  <a:pt x="368" y="322"/>
                </a:lnTo>
                <a:lnTo>
                  <a:pt x="675" y="185"/>
                </a:lnTo>
                <a:lnTo>
                  <a:pt x="675" y="531"/>
                </a:lnTo>
                <a:lnTo>
                  <a:pt x="368" y="6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34;p177">
            <a:extLst>
              <a:ext uri="{FF2B5EF4-FFF2-40B4-BE49-F238E27FC236}">
                <a16:creationId xmlns:a16="http://schemas.microsoft.com/office/drawing/2014/main" id="{5D099588-5D6C-BA70-92FD-50C147E2E244}"/>
              </a:ext>
            </a:extLst>
          </p:cNvPr>
          <p:cNvSpPr/>
          <p:nvPr/>
        </p:nvSpPr>
        <p:spPr>
          <a:xfrm>
            <a:off x="7257925" y="4804257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527" y="320"/>
                </a:moveTo>
                <a:lnTo>
                  <a:pt x="588" y="259"/>
                </a:lnTo>
                <a:lnTo>
                  <a:pt x="631" y="214"/>
                </a:lnTo>
                <a:lnTo>
                  <a:pt x="506" y="88"/>
                </a:lnTo>
                <a:lnTo>
                  <a:pt x="462" y="131"/>
                </a:lnTo>
                <a:lnTo>
                  <a:pt x="400" y="194"/>
                </a:lnTo>
                <a:lnTo>
                  <a:pt x="87" y="507"/>
                </a:lnTo>
                <a:lnTo>
                  <a:pt x="31" y="691"/>
                </a:lnTo>
                <a:lnTo>
                  <a:pt x="213" y="635"/>
                </a:lnTo>
                <a:lnTo>
                  <a:pt x="527" y="320"/>
                </a:lnTo>
                <a:lnTo>
                  <a:pt x="527" y="320"/>
                </a:lnTo>
                <a:close/>
                <a:moveTo>
                  <a:pt x="483" y="153"/>
                </a:moveTo>
                <a:lnTo>
                  <a:pt x="506" y="130"/>
                </a:lnTo>
                <a:lnTo>
                  <a:pt x="589" y="214"/>
                </a:lnTo>
                <a:lnTo>
                  <a:pt x="567" y="237"/>
                </a:lnTo>
                <a:lnTo>
                  <a:pt x="540" y="264"/>
                </a:lnTo>
                <a:lnTo>
                  <a:pt x="456" y="179"/>
                </a:lnTo>
                <a:lnTo>
                  <a:pt x="483" y="153"/>
                </a:lnTo>
                <a:close/>
                <a:moveTo>
                  <a:pt x="400" y="235"/>
                </a:moveTo>
                <a:lnTo>
                  <a:pt x="431" y="267"/>
                </a:lnTo>
                <a:lnTo>
                  <a:pt x="175" y="525"/>
                </a:lnTo>
                <a:lnTo>
                  <a:pt x="130" y="525"/>
                </a:lnTo>
                <a:lnTo>
                  <a:pt x="121" y="516"/>
                </a:lnTo>
                <a:lnTo>
                  <a:pt x="400" y="235"/>
                </a:lnTo>
                <a:close/>
                <a:moveTo>
                  <a:pt x="76" y="646"/>
                </a:moveTo>
                <a:lnTo>
                  <a:pt x="82" y="625"/>
                </a:lnTo>
                <a:lnTo>
                  <a:pt x="97" y="639"/>
                </a:lnTo>
                <a:lnTo>
                  <a:pt x="76" y="646"/>
                </a:lnTo>
                <a:close/>
                <a:moveTo>
                  <a:pt x="128" y="629"/>
                </a:moveTo>
                <a:lnTo>
                  <a:pt x="92" y="592"/>
                </a:lnTo>
                <a:lnTo>
                  <a:pt x="106" y="544"/>
                </a:lnTo>
                <a:lnTo>
                  <a:pt x="117" y="554"/>
                </a:lnTo>
                <a:lnTo>
                  <a:pt x="166" y="554"/>
                </a:lnTo>
                <a:lnTo>
                  <a:pt x="166" y="604"/>
                </a:lnTo>
                <a:lnTo>
                  <a:pt x="177" y="614"/>
                </a:lnTo>
                <a:lnTo>
                  <a:pt x="128" y="629"/>
                </a:lnTo>
                <a:close/>
                <a:moveTo>
                  <a:pt x="205" y="601"/>
                </a:moveTo>
                <a:lnTo>
                  <a:pt x="197" y="592"/>
                </a:lnTo>
                <a:lnTo>
                  <a:pt x="197" y="545"/>
                </a:lnTo>
                <a:lnTo>
                  <a:pt x="452" y="288"/>
                </a:lnTo>
                <a:lnTo>
                  <a:pt x="484" y="320"/>
                </a:lnTo>
                <a:lnTo>
                  <a:pt x="205" y="601"/>
                </a:lnTo>
                <a:close/>
                <a:moveTo>
                  <a:pt x="505" y="299"/>
                </a:moveTo>
                <a:lnTo>
                  <a:pt x="422" y="214"/>
                </a:lnTo>
                <a:lnTo>
                  <a:pt x="435" y="201"/>
                </a:lnTo>
                <a:lnTo>
                  <a:pt x="519" y="284"/>
                </a:lnTo>
                <a:lnTo>
                  <a:pt x="505" y="299"/>
                </a:lnTo>
                <a:close/>
                <a:moveTo>
                  <a:pt x="704" y="706"/>
                </a:moveTo>
                <a:lnTo>
                  <a:pt x="243" y="706"/>
                </a:lnTo>
                <a:lnTo>
                  <a:pt x="243" y="675"/>
                </a:lnTo>
                <a:lnTo>
                  <a:pt x="673" y="675"/>
                </a:lnTo>
                <a:lnTo>
                  <a:pt x="673" y="31"/>
                </a:lnTo>
                <a:lnTo>
                  <a:pt x="31" y="31"/>
                </a:lnTo>
                <a:lnTo>
                  <a:pt x="31" y="691"/>
                </a:lnTo>
                <a:lnTo>
                  <a:pt x="0" y="691"/>
                </a:lnTo>
                <a:lnTo>
                  <a:pt x="0" y="0"/>
                </a:lnTo>
                <a:lnTo>
                  <a:pt x="704" y="0"/>
                </a:lnTo>
                <a:lnTo>
                  <a:pt x="704" y="7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8" name="Google Shape;1335;p177">
            <a:extLst>
              <a:ext uri="{FF2B5EF4-FFF2-40B4-BE49-F238E27FC236}">
                <a16:creationId xmlns:a16="http://schemas.microsoft.com/office/drawing/2014/main" id="{E54019D8-3D6A-9243-624F-A5481DC8A56B}"/>
              </a:ext>
            </a:extLst>
          </p:cNvPr>
          <p:cNvGrpSpPr/>
          <p:nvPr/>
        </p:nvGrpSpPr>
        <p:grpSpPr>
          <a:xfrm>
            <a:off x="6355986" y="4804246"/>
            <a:ext cx="457200" cy="457200"/>
            <a:chOff x="8442694" y="1867103"/>
            <a:chExt cx="457200" cy="457200"/>
          </a:xfrm>
        </p:grpSpPr>
        <p:sp>
          <p:nvSpPr>
            <p:cNvPr id="29" name="Google Shape;1336;p177">
              <a:extLst>
                <a:ext uri="{FF2B5EF4-FFF2-40B4-BE49-F238E27FC236}">
                  <a16:creationId xmlns:a16="http://schemas.microsoft.com/office/drawing/2014/main" id="{8E3910BB-205E-6140-539C-1A3815FD6234}"/>
                </a:ext>
              </a:extLst>
            </p:cNvPr>
            <p:cNvSpPr/>
            <p:nvPr/>
          </p:nvSpPr>
          <p:spPr>
            <a:xfrm>
              <a:off x="8442694" y="1867103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437706"/>
                  </a:moveTo>
                  <a:lnTo>
                    <a:pt x="19495" y="437706"/>
                  </a:lnTo>
                  <a:lnTo>
                    <a:pt x="19495" y="19495"/>
                  </a:lnTo>
                  <a:lnTo>
                    <a:pt x="437706" y="1949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rgbClr val="7D7D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1337;p177">
              <a:extLst>
                <a:ext uri="{FF2B5EF4-FFF2-40B4-BE49-F238E27FC236}">
                  <a16:creationId xmlns:a16="http://schemas.microsoft.com/office/drawing/2014/main" id="{BEF2F768-5B66-8746-03C4-9CF5852CE860}"/>
                </a:ext>
              </a:extLst>
            </p:cNvPr>
            <p:cNvSpPr/>
            <p:nvPr/>
          </p:nvSpPr>
          <p:spPr>
            <a:xfrm>
              <a:off x="8649355" y="1909362"/>
              <a:ext cx="1397" cy="2889"/>
            </a:xfrm>
            <a:custGeom>
              <a:avLst/>
              <a:gdLst/>
              <a:ahLst/>
              <a:cxnLst/>
              <a:rect l="l" t="t" r="r" b="b"/>
              <a:pathLst>
                <a:path w="1397" h="2889" extrusionOk="0">
                  <a:moveTo>
                    <a:pt x="0" y="0"/>
                  </a:moveTo>
                  <a:cubicBezTo>
                    <a:pt x="476" y="921"/>
                    <a:pt x="953" y="1873"/>
                    <a:pt x="1397" y="2889"/>
                  </a:cubicBezTo>
                  <a:lnTo>
                    <a:pt x="1016" y="25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rgbClr val="7D7D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1338;p177">
              <a:extLst>
                <a:ext uri="{FF2B5EF4-FFF2-40B4-BE49-F238E27FC236}">
                  <a16:creationId xmlns:a16="http://schemas.microsoft.com/office/drawing/2014/main" id="{D7BD4A73-0F77-4D0A-F225-4FC5589362C0}"/>
                </a:ext>
              </a:extLst>
            </p:cNvPr>
            <p:cNvSpPr/>
            <p:nvPr/>
          </p:nvSpPr>
          <p:spPr>
            <a:xfrm>
              <a:off x="8558905" y="1909647"/>
              <a:ext cx="207684" cy="374777"/>
            </a:xfrm>
            <a:custGeom>
              <a:avLst/>
              <a:gdLst/>
              <a:ahLst/>
              <a:cxnLst/>
              <a:rect l="l" t="t" r="r" b="b"/>
              <a:pathLst>
                <a:path w="207684" h="374777" extrusionOk="0">
                  <a:moveTo>
                    <a:pt x="69939" y="362934"/>
                  </a:moveTo>
                  <a:lnTo>
                    <a:pt x="67557" y="334359"/>
                  </a:lnTo>
                  <a:cubicBezTo>
                    <a:pt x="63049" y="280384"/>
                    <a:pt x="84067" y="255746"/>
                    <a:pt x="104355" y="231839"/>
                  </a:cubicBezTo>
                  <a:cubicBezTo>
                    <a:pt x="112500" y="222828"/>
                    <a:pt x="119791" y="213081"/>
                    <a:pt x="126136" y="202724"/>
                  </a:cubicBezTo>
                  <a:cubicBezTo>
                    <a:pt x="137832" y="231495"/>
                    <a:pt x="138701" y="263531"/>
                    <a:pt x="128581" y="292894"/>
                  </a:cubicBezTo>
                  <a:cubicBezTo>
                    <a:pt x="128390" y="293624"/>
                    <a:pt x="128232" y="294386"/>
                    <a:pt x="128009" y="295180"/>
                  </a:cubicBezTo>
                  <a:cubicBezTo>
                    <a:pt x="114706" y="344805"/>
                    <a:pt x="95307" y="365824"/>
                    <a:pt x="85687" y="374555"/>
                  </a:cubicBezTo>
                  <a:lnTo>
                    <a:pt x="85433" y="374777"/>
                  </a:lnTo>
                  <a:lnTo>
                    <a:pt x="110483" y="362331"/>
                  </a:lnTo>
                  <a:cubicBezTo>
                    <a:pt x="168840" y="333248"/>
                    <a:pt x="201257" y="289560"/>
                    <a:pt x="206845" y="232410"/>
                  </a:cubicBezTo>
                  <a:cubicBezTo>
                    <a:pt x="215830" y="140335"/>
                    <a:pt x="150615" y="40577"/>
                    <a:pt x="111595" y="10509"/>
                  </a:cubicBezTo>
                  <a:lnTo>
                    <a:pt x="109182" y="8636"/>
                  </a:lnTo>
                  <a:cubicBezTo>
                    <a:pt x="103771" y="4818"/>
                    <a:pt x="97777" y="1901"/>
                    <a:pt x="91433" y="0"/>
                  </a:cubicBezTo>
                  <a:lnTo>
                    <a:pt x="91814" y="2635"/>
                  </a:lnTo>
                  <a:cubicBezTo>
                    <a:pt x="94844" y="9737"/>
                    <a:pt x="96357" y="17394"/>
                    <a:pt x="96259" y="25114"/>
                  </a:cubicBezTo>
                  <a:cubicBezTo>
                    <a:pt x="96320" y="31735"/>
                    <a:pt x="95246" y="38318"/>
                    <a:pt x="93084" y="44577"/>
                  </a:cubicBezTo>
                  <a:cubicBezTo>
                    <a:pt x="87337" y="67469"/>
                    <a:pt x="70859" y="91821"/>
                    <a:pt x="53365" y="117158"/>
                  </a:cubicBezTo>
                  <a:cubicBezTo>
                    <a:pt x="11582" y="178213"/>
                    <a:pt x="-40393" y="254191"/>
                    <a:pt x="49555" y="342805"/>
                  </a:cubicBezTo>
                  <a:close/>
                  <a:moveTo>
                    <a:pt x="70859" y="129159"/>
                  </a:moveTo>
                  <a:cubicBezTo>
                    <a:pt x="90925" y="99854"/>
                    <a:pt x="110134" y="71755"/>
                    <a:pt x="115182" y="43180"/>
                  </a:cubicBezTo>
                  <a:cubicBezTo>
                    <a:pt x="149504" y="81280"/>
                    <a:pt x="192557" y="159480"/>
                    <a:pt x="185699" y="230315"/>
                  </a:cubicBezTo>
                  <a:cubicBezTo>
                    <a:pt x="182808" y="263658"/>
                    <a:pt x="166992" y="294548"/>
                    <a:pt x="141630" y="316389"/>
                  </a:cubicBezTo>
                  <a:cubicBezTo>
                    <a:pt x="157505" y="281464"/>
                    <a:pt x="168173" y="229330"/>
                    <a:pt x="134455" y="171196"/>
                  </a:cubicBezTo>
                  <a:lnTo>
                    <a:pt x="123882" y="152972"/>
                  </a:lnTo>
                  <a:cubicBezTo>
                    <a:pt x="123014" y="158620"/>
                    <a:pt x="121600" y="164170"/>
                    <a:pt x="119659" y="169545"/>
                  </a:cubicBezTo>
                  <a:cubicBezTo>
                    <a:pt x="116941" y="177392"/>
                    <a:pt x="113044" y="184779"/>
                    <a:pt x="108102" y="191452"/>
                  </a:cubicBezTo>
                  <a:cubicBezTo>
                    <a:pt x="102326" y="200924"/>
                    <a:pt x="95660" y="209822"/>
                    <a:pt x="88195" y="218027"/>
                  </a:cubicBezTo>
                  <a:cubicBezTo>
                    <a:pt x="70732" y="238570"/>
                    <a:pt x="49714" y="263335"/>
                    <a:pt x="46221" y="307245"/>
                  </a:cubicBezTo>
                  <a:cubicBezTo>
                    <a:pt x="-5436" y="240665"/>
                    <a:pt x="31743" y="186341"/>
                    <a:pt x="70859" y="129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rgbClr val="7D7D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2" name="Google Shape;1339;p177">
            <a:extLst>
              <a:ext uri="{FF2B5EF4-FFF2-40B4-BE49-F238E27FC236}">
                <a16:creationId xmlns:a16="http://schemas.microsoft.com/office/drawing/2014/main" id="{3221061B-BF7D-D463-005A-F76CDFDF9257}"/>
              </a:ext>
            </a:extLst>
          </p:cNvPr>
          <p:cNvSpPr/>
          <p:nvPr/>
        </p:nvSpPr>
        <p:spPr>
          <a:xfrm>
            <a:off x="4555564" y="4806062"/>
            <a:ext cx="453744" cy="453590"/>
          </a:xfrm>
          <a:custGeom>
            <a:avLst/>
            <a:gdLst/>
            <a:ahLst/>
            <a:cxnLst/>
            <a:rect l="l" t="t" r="r" b="b"/>
            <a:pathLst>
              <a:path w="453744" h="453590" extrusionOk="0">
                <a:moveTo>
                  <a:pt x="0" y="0"/>
                </a:moveTo>
                <a:lnTo>
                  <a:pt x="0" y="453590"/>
                </a:lnTo>
                <a:lnTo>
                  <a:pt x="453744" y="453590"/>
                </a:lnTo>
                <a:lnTo>
                  <a:pt x="453744" y="0"/>
                </a:lnTo>
                <a:close/>
                <a:moveTo>
                  <a:pt x="434397" y="434250"/>
                </a:moveTo>
                <a:lnTo>
                  <a:pt x="19347" y="434250"/>
                </a:lnTo>
                <a:lnTo>
                  <a:pt x="19347" y="19341"/>
                </a:lnTo>
                <a:lnTo>
                  <a:pt x="434397" y="19341"/>
                </a:lnTo>
                <a:close/>
                <a:moveTo>
                  <a:pt x="236325" y="215203"/>
                </a:moveTo>
                <a:lnTo>
                  <a:pt x="236325" y="254168"/>
                </a:lnTo>
                <a:lnTo>
                  <a:pt x="225423" y="254168"/>
                </a:lnTo>
                <a:lnTo>
                  <a:pt x="225423" y="215203"/>
                </a:lnTo>
                <a:close/>
                <a:moveTo>
                  <a:pt x="230874" y="268532"/>
                </a:moveTo>
                <a:cubicBezTo>
                  <a:pt x="235399" y="268513"/>
                  <a:pt x="239079" y="272167"/>
                  <a:pt x="239098" y="276690"/>
                </a:cubicBezTo>
                <a:cubicBezTo>
                  <a:pt x="239114" y="281213"/>
                  <a:pt x="235462" y="284892"/>
                  <a:pt x="230937" y="284911"/>
                </a:cubicBezTo>
                <a:cubicBezTo>
                  <a:pt x="226412" y="284927"/>
                  <a:pt x="222732" y="281276"/>
                  <a:pt x="222713" y="276753"/>
                </a:cubicBezTo>
                <a:cubicBezTo>
                  <a:pt x="222713" y="276731"/>
                  <a:pt x="222713" y="276712"/>
                  <a:pt x="222713" y="276690"/>
                </a:cubicBezTo>
                <a:cubicBezTo>
                  <a:pt x="222713" y="272186"/>
                  <a:pt x="226368" y="268532"/>
                  <a:pt x="230874" y="268532"/>
                </a:cubicBezTo>
                <a:close/>
                <a:moveTo>
                  <a:pt x="293390" y="80670"/>
                </a:moveTo>
                <a:lnTo>
                  <a:pt x="264779" y="80670"/>
                </a:lnTo>
                <a:lnTo>
                  <a:pt x="264779" y="69456"/>
                </a:lnTo>
                <a:lnTo>
                  <a:pt x="293390" y="69456"/>
                </a:lnTo>
                <a:close/>
                <a:moveTo>
                  <a:pt x="215592" y="172805"/>
                </a:moveTo>
                <a:lnTo>
                  <a:pt x="131334" y="172805"/>
                </a:lnTo>
                <a:lnTo>
                  <a:pt x="130514" y="100073"/>
                </a:lnTo>
                <a:lnTo>
                  <a:pt x="323041" y="100073"/>
                </a:lnTo>
                <a:lnTo>
                  <a:pt x="323041" y="172805"/>
                </a:lnTo>
                <a:lnTo>
                  <a:pt x="246251" y="172805"/>
                </a:lnTo>
                <a:lnTo>
                  <a:pt x="239949" y="161812"/>
                </a:lnTo>
                <a:cubicBezTo>
                  <a:pt x="237085" y="156835"/>
                  <a:pt x="230726" y="155125"/>
                  <a:pt x="225750" y="157988"/>
                </a:cubicBezTo>
                <a:cubicBezTo>
                  <a:pt x="224159" y="158905"/>
                  <a:pt x="222839" y="160221"/>
                  <a:pt x="221925" y="161812"/>
                </a:cubicBezTo>
                <a:close/>
                <a:moveTo>
                  <a:pt x="257531" y="192240"/>
                </a:moveTo>
                <a:lnTo>
                  <a:pt x="323261" y="192240"/>
                </a:lnTo>
                <a:lnTo>
                  <a:pt x="323419" y="279367"/>
                </a:lnTo>
                <a:lnTo>
                  <a:pt x="307853" y="279367"/>
                </a:lnTo>
                <a:close/>
                <a:moveTo>
                  <a:pt x="154021" y="279367"/>
                </a:moveTo>
                <a:lnTo>
                  <a:pt x="132437" y="279367"/>
                </a:lnTo>
                <a:lnTo>
                  <a:pt x="131586" y="192240"/>
                </a:lnTo>
                <a:lnTo>
                  <a:pt x="204374" y="192240"/>
                </a:lnTo>
                <a:close/>
                <a:moveTo>
                  <a:pt x="323450" y="298803"/>
                </a:moveTo>
                <a:lnTo>
                  <a:pt x="323450" y="376102"/>
                </a:lnTo>
                <a:lnTo>
                  <a:pt x="133287" y="376102"/>
                </a:lnTo>
                <a:lnTo>
                  <a:pt x="132563" y="298803"/>
                </a:lnTo>
                <a:lnTo>
                  <a:pt x="143717" y="298803"/>
                </a:lnTo>
                <a:cubicBezTo>
                  <a:pt x="143074" y="304526"/>
                  <a:pt x="147193" y="309686"/>
                  <a:pt x="152915" y="310328"/>
                </a:cubicBezTo>
                <a:cubicBezTo>
                  <a:pt x="153303" y="310372"/>
                  <a:pt x="153693" y="310394"/>
                  <a:pt x="154084" y="310394"/>
                </a:cubicBezTo>
                <a:lnTo>
                  <a:pt x="307695" y="310394"/>
                </a:lnTo>
                <a:cubicBezTo>
                  <a:pt x="313455" y="310379"/>
                  <a:pt x="318113" y="305698"/>
                  <a:pt x="318097" y="299940"/>
                </a:cubicBezTo>
                <a:cubicBezTo>
                  <a:pt x="318094" y="299559"/>
                  <a:pt x="318072" y="299181"/>
                  <a:pt x="318031" y="298803"/>
                </a:cubicBezTo>
                <a:close/>
                <a:moveTo>
                  <a:pt x="348658" y="100073"/>
                </a:moveTo>
                <a:lnTo>
                  <a:pt x="348658" y="80701"/>
                </a:lnTo>
                <a:lnTo>
                  <a:pt x="306403" y="80701"/>
                </a:lnTo>
                <a:lnTo>
                  <a:pt x="306403" y="55880"/>
                </a:lnTo>
                <a:lnTo>
                  <a:pt x="251229" y="55880"/>
                </a:lnTo>
                <a:lnTo>
                  <a:pt x="251229" y="80701"/>
                </a:lnTo>
                <a:lnTo>
                  <a:pt x="105117" y="80701"/>
                </a:lnTo>
                <a:lnTo>
                  <a:pt x="105117" y="100073"/>
                </a:lnTo>
                <a:lnTo>
                  <a:pt x="111167" y="100073"/>
                </a:lnTo>
                <a:lnTo>
                  <a:pt x="112270" y="172805"/>
                </a:lnTo>
                <a:lnTo>
                  <a:pt x="104771" y="172805"/>
                </a:lnTo>
                <a:lnTo>
                  <a:pt x="104771" y="192240"/>
                </a:lnTo>
                <a:lnTo>
                  <a:pt x="112554" y="192240"/>
                </a:lnTo>
                <a:lnTo>
                  <a:pt x="113846" y="279367"/>
                </a:lnTo>
                <a:lnTo>
                  <a:pt x="104771" y="279367"/>
                </a:lnTo>
                <a:lnTo>
                  <a:pt x="104771" y="298803"/>
                </a:lnTo>
                <a:lnTo>
                  <a:pt x="114224" y="298803"/>
                </a:lnTo>
                <a:lnTo>
                  <a:pt x="115390" y="376511"/>
                </a:lnTo>
                <a:lnTo>
                  <a:pt x="104865" y="376511"/>
                </a:lnTo>
                <a:lnTo>
                  <a:pt x="104865" y="395915"/>
                </a:lnTo>
                <a:lnTo>
                  <a:pt x="348532" y="395915"/>
                </a:lnTo>
                <a:lnTo>
                  <a:pt x="348532" y="376511"/>
                </a:lnTo>
                <a:lnTo>
                  <a:pt x="341443" y="376511"/>
                </a:lnTo>
                <a:lnTo>
                  <a:pt x="341758" y="298803"/>
                </a:lnTo>
                <a:lnTo>
                  <a:pt x="348532" y="298803"/>
                </a:lnTo>
                <a:lnTo>
                  <a:pt x="348532" y="279367"/>
                </a:lnTo>
                <a:lnTo>
                  <a:pt x="341632" y="279367"/>
                </a:lnTo>
                <a:lnTo>
                  <a:pt x="342010" y="192240"/>
                </a:lnTo>
                <a:lnTo>
                  <a:pt x="348312" y="192240"/>
                </a:lnTo>
                <a:lnTo>
                  <a:pt x="348312" y="172805"/>
                </a:lnTo>
                <a:lnTo>
                  <a:pt x="342010" y="172805"/>
                </a:lnTo>
                <a:lnTo>
                  <a:pt x="342325" y="100073"/>
                </a:lnTo>
                <a:close/>
                <a:moveTo>
                  <a:pt x="298746" y="294771"/>
                </a:moveTo>
                <a:lnTo>
                  <a:pt x="163253" y="294771"/>
                </a:lnTo>
                <a:lnTo>
                  <a:pt x="231000" y="1774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340;p177">
            <a:extLst>
              <a:ext uri="{FF2B5EF4-FFF2-40B4-BE49-F238E27FC236}">
                <a16:creationId xmlns:a16="http://schemas.microsoft.com/office/drawing/2014/main" id="{761BC734-D09E-75D2-ECA2-D9952D9CE54B}"/>
              </a:ext>
            </a:extLst>
          </p:cNvPr>
          <p:cNvSpPr/>
          <p:nvPr/>
        </p:nvSpPr>
        <p:spPr>
          <a:xfrm>
            <a:off x="2756437" y="4806057"/>
            <a:ext cx="453744" cy="453590"/>
          </a:xfrm>
          <a:custGeom>
            <a:avLst/>
            <a:gdLst/>
            <a:ahLst/>
            <a:cxnLst/>
            <a:rect l="l" t="t" r="r" b="b"/>
            <a:pathLst>
              <a:path w="453744" h="453590" extrusionOk="0">
                <a:moveTo>
                  <a:pt x="0" y="0"/>
                </a:moveTo>
                <a:lnTo>
                  <a:pt x="0" y="453590"/>
                </a:lnTo>
                <a:lnTo>
                  <a:pt x="453744" y="453590"/>
                </a:lnTo>
                <a:lnTo>
                  <a:pt x="453744" y="0"/>
                </a:lnTo>
                <a:close/>
                <a:moveTo>
                  <a:pt x="434397" y="434092"/>
                </a:moveTo>
                <a:lnTo>
                  <a:pt x="19347" y="434092"/>
                </a:lnTo>
                <a:lnTo>
                  <a:pt x="19347" y="19215"/>
                </a:lnTo>
                <a:lnTo>
                  <a:pt x="434397" y="19215"/>
                </a:lnTo>
                <a:close/>
                <a:moveTo>
                  <a:pt x="393434" y="199265"/>
                </a:moveTo>
                <a:cubicBezTo>
                  <a:pt x="393434" y="159733"/>
                  <a:pt x="330572" y="67598"/>
                  <a:pt x="323387" y="57203"/>
                </a:cubicBezTo>
                <a:lnTo>
                  <a:pt x="315793" y="45957"/>
                </a:lnTo>
                <a:lnTo>
                  <a:pt x="308010" y="57203"/>
                </a:lnTo>
                <a:cubicBezTo>
                  <a:pt x="304135" y="62841"/>
                  <a:pt x="283874" y="92514"/>
                  <a:pt x="266134" y="124832"/>
                </a:cubicBezTo>
                <a:cubicBezTo>
                  <a:pt x="250694" y="100199"/>
                  <a:pt x="238657" y="82749"/>
                  <a:pt x="237239" y="80733"/>
                </a:cubicBezTo>
                <a:lnTo>
                  <a:pt x="229330" y="69299"/>
                </a:lnTo>
                <a:lnTo>
                  <a:pt x="221547" y="80575"/>
                </a:lnTo>
                <a:cubicBezTo>
                  <a:pt x="220066" y="82749"/>
                  <a:pt x="206737" y="102089"/>
                  <a:pt x="190037" y="128927"/>
                </a:cubicBezTo>
                <a:cubicBezTo>
                  <a:pt x="176541" y="104256"/>
                  <a:pt x="161817" y="80276"/>
                  <a:pt x="145923" y="57077"/>
                </a:cubicBezTo>
                <a:lnTo>
                  <a:pt x="138140" y="45832"/>
                </a:lnTo>
                <a:lnTo>
                  <a:pt x="130357" y="57077"/>
                </a:lnTo>
                <a:cubicBezTo>
                  <a:pt x="123204" y="67472"/>
                  <a:pt x="60310" y="159607"/>
                  <a:pt x="60310" y="199139"/>
                </a:cubicBezTo>
                <a:cubicBezTo>
                  <a:pt x="60354" y="234572"/>
                  <a:pt x="84305" y="265517"/>
                  <a:pt x="118604" y="274454"/>
                </a:cubicBezTo>
                <a:cubicBezTo>
                  <a:pt x="117009" y="280791"/>
                  <a:pt x="116130" y="287290"/>
                  <a:pt x="115988" y="293826"/>
                </a:cubicBezTo>
                <a:cubicBezTo>
                  <a:pt x="115988" y="356453"/>
                  <a:pt x="166776" y="407223"/>
                  <a:pt x="229424" y="407223"/>
                </a:cubicBezTo>
                <a:cubicBezTo>
                  <a:pt x="292073" y="407223"/>
                  <a:pt x="342860" y="356453"/>
                  <a:pt x="342860" y="293826"/>
                </a:cubicBezTo>
                <a:cubicBezTo>
                  <a:pt x="342697" y="286823"/>
                  <a:pt x="341701" y="279865"/>
                  <a:pt x="339898" y="273099"/>
                </a:cubicBezTo>
                <a:cubicBezTo>
                  <a:pt x="371815" y="262607"/>
                  <a:pt x="393415" y="232849"/>
                  <a:pt x="393497" y="199265"/>
                </a:cubicBezTo>
                <a:close/>
                <a:moveTo>
                  <a:pt x="79059" y="199265"/>
                </a:moveTo>
                <a:cubicBezTo>
                  <a:pt x="79059" y="174065"/>
                  <a:pt x="116398" y="112264"/>
                  <a:pt x="137982" y="79567"/>
                </a:cubicBezTo>
                <a:cubicBezTo>
                  <a:pt x="152622" y="101656"/>
                  <a:pt x="166137" y="124470"/>
                  <a:pt x="178473" y="147921"/>
                </a:cubicBezTo>
                <a:cubicBezTo>
                  <a:pt x="157991" y="182003"/>
                  <a:pt x="135556" y="223110"/>
                  <a:pt x="123866" y="256467"/>
                </a:cubicBezTo>
                <a:cubicBezTo>
                  <a:pt x="97583" y="249931"/>
                  <a:pt x="79131" y="226342"/>
                  <a:pt x="79122" y="199265"/>
                </a:cubicBezTo>
                <a:close/>
                <a:moveTo>
                  <a:pt x="229267" y="388450"/>
                </a:moveTo>
                <a:cubicBezTo>
                  <a:pt x="177058" y="388450"/>
                  <a:pt x="134737" y="346143"/>
                  <a:pt x="134737" y="293952"/>
                </a:cubicBezTo>
                <a:cubicBezTo>
                  <a:pt x="134894" y="288244"/>
                  <a:pt x="135733" y="282577"/>
                  <a:pt x="137226" y="277068"/>
                </a:cubicBezTo>
                <a:cubicBezTo>
                  <a:pt x="138884" y="270570"/>
                  <a:pt x="140925" y="264175"/>
                  <a:pt x="143339" y="257916"/>
                </a:cubicBezTo>
                <a:cubicBezTo>
                  <a:pt x="153265" y="231426"/>
                  <a:pt x="170532" y="198792"/>
                  <a:pt x="188241" y="168521"/>
                </a:cubicBezTo>
                <a:cubicBezTo>
                  <a:pt x="192189" y="161781"/>
                  <a:pt x="196118" y="155207"/>
                  <a:pt x="200026" y="148803"/>
                </a:cubicBezTo>
                <a:cubicBezTo>
                  <a:pt x="210707" y="131258"/>
                  <a:pt x="220980" y="115288"/>
                  <a:pt x="229267" y="102908"/>
                </a:cubicBezTo>
                <a:cubicBezTo>
                  <a:pt x="236829" y="114217"/>
                  <a:pt x="246062" y="128517"/>
                  <a:pt x="255767" y="144298"/>
                </a:cubicBezTo>
                <a:cubicBezTo>
                  <a:pt x="259611" y="150598"/>
                  <a:pt x="263550" y="156898"/>
                  <a:pt x="267457" y="163702"/>
                </a:cubicBezTo>
                <a:cubicBezTo>
                  <a:pt x="286205" y="195390"/>
                  <a:pt x="304859" y="230229"/>
                  <a:pt x="315321" y="258200"/>
                </a:cubicBezTo>
                <a:cubicBezTo>
                  <a:pt x="317640" y="264314"/>
                  <a:pt x="319628" y="270551"/>
                  <a:pt x="321276" y="276879"/>
                </a:cubicBezTo>
                <a:cubicBezTo>
                  <a:pt x="322792" y="282461"/>
                  <a:pt x="323639" y="288203"/>
                  <a:pt x="323797" y="293983"/>
                </a:cubicBezTo>
                <a:cubicBezTo>
                  <a:pt x="323781" y="346137"/>
                  <a:pt x="281501" y="388415"/>
                  <a:pt x="229330" y="388450"/>
                </a:cubicBezTo>
                <a:close/>
                <a:moveTo>
                  <a:pt x="334290" y="255144"/>
                </a:moveTo>
                <a:cubicBezTo>
                  <a:pt x="321969" y="220495"/>
                  <a:pt x="298368" y="177971"/>
                  <a:pt x="277572" y="143479"/>
                </a:cubicBezTo>
                <a:cubicBezTo>
                  <a:pt x="289703" y="120422"/>
                  <a:pt x="304765" y="96230"/>
                  <a:pt x="315730" y="79536"/>
                </a:cubicBezTo>
                <a:cubicBezTo>
                  <a:pt x="337315" y="112295"/>
                  <a:pt x="374654" y="174191"/>
                  <a:pt x="374654" y="199233"/>
                </a:cubicBezTo>
                <a:cubicBezTo>
                  <a:pt x="374638" y="224612"/>
                  <a:pt x="358379" y="247131"/>
                  <a:pt x="334290" y="255144"/>
                </a:cubicBezTo>
                <a:close/>
                <a:moveTo>
                  <a:pt x="238783" y="354462"/>
                </a:moveTo>
                <a:cubicBezTo>
                  <a:pt x="238783" y="359681"/>
                  <a:pt x="234551" y="363912"/>
                  <a:pt x="229330" y="363912"/>
                </a:cubicBezTo>
                <a:cubicBezTo>
                  <a:pt x="190248" y="363858"/>
                  <a:pt x="158580" y="332201"/>
                  <a:pt x="158527" y="293133"/>
                </a:cubicBezTo>
                <a:cubicBezTo>
                  <a:pt x="158527" y="287913"/>
                  <a:pt x="162759" y="283683"/>
                  <a:pt x="167980" y="283683"/>
                </a:cubicBezTo>
                <a:cubicBezTo>
                  <a:pt x="173201" y="283683"/>
                  <a:pt x="177433" y="287913"/>
                  <a:pt x="177433" y="293133"/>
                </a:cubicBezTo>
                <a:cubicBezTo>
                  <a:pt x="177436" y="296667"/>
                  <a:pt x="177795" y="300192"/>
                  <a:pt x="178504" y="303653"/>
                </a:cubicBezTo>
                <a:cubicBezTo>
                  <a:pt x="182758" y="323882"/>
                  <a:pt x="198570" y="339689"/>
                  <a:pt x="218806" y="343941"/>
                </a:cubicBezTo>
                <a:cubicBezTo>
                  <a:pt x="222268" y="344650"/>
                  <a:pt x="225794" y="345009"/>
                  <a:pt x="229330" y="345012"/>
                </a:cubicBezTo>
                <a:cubicBezTo>
                  <a:pt x="234538" y="345012"/>
                  <a:pt x="238764" y="349224"/>
                  <a:pt x="238783" y="3544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341;p177">
            <a:extLst>
              <a:ext uri="{FF2B5EF4-FFF2-40B4-BE49-F238E27FC236}">
                <a16:creationId xmlns:a16="http://schemas.microsoft.com/office/drawing/2014/main" id="{B93CB64E-3AFC-EB85-3AAF-33CC231CC00F}"/>
              </a:ext>
            </a:extLst>
          </p:cNvPr>
          <p:cNvSpPr/>
          <p:nvPr/>
        </p:nvSpPr>
        <p:spPr>
          <a:xfrm>
            <a:off x="9960506" y="4804260"/>
            <a:ext cx="456551" cy="457200"/>
          </a:xfrm>
          <a:custGeom>
            <a:avLst/>
            <a:gdLst/>
            <a:ahLst/>
            <a:cxnLst/>
            <a:rect l="l" t="t" r="r" b="b"/>
            <a:pathLst>
              <a:path w="704" h="705" extrusionOk="0">
                <a:moveTo>
                  <a:pt x="368" y="655"/>
                </a:moveTo>
                <a:lnTo>
                  <a:pt x="339" y="655"/>
                </a:lnTo>
                <a:lnTo>
                  <a:pt x="339" y="625"/>
                </a:lnTo>
                <a:lnTo>
                  <a:pt x="368" y="625"/>
                </a:lnTo>
                <a:lnTo>
                  <a:pt x="368" y="655"/>
                </a:lnTo>
                <a:close/>
                <a:moveTo>
                  <a:pt x="368" y="557"/>
                </a:moveTo>
                <a:lnTo>
                  <a:pt x="339" y="557"/>
                </a:lnTo>
                <a:lnTo>
                  <a:pt x="339" y="528"/>
                </a:lnTo>
                <a:lnTo>
                  <a:pt x="368" y="528"/>
                </a:lnTo>
                <a:lnTo>
                  <a:pt x="368" y="557"/>
                </a:lnTo>
                <a:close/>
                <a:moveTo>
                  <a:pt x="368" y="459"/>
                </a:moveTo>
                <a:lnTo>
                  <a:pt x="339" y="459"/>
                </a:lnTo>
                <a:lnTo>
                  <a:pt x="339" y="430"/>
                </a:lnTo>
                <a:lnTo>
                  <a:pt x="368" y="430"/>
                </a:lnTo>
                <a:lnTo>
                  <a:pt x="368" y="459"/>
                </a:lnTo>
                <a:close/>
                <a:moveTo>
                  <a:pt x="368" y="361"/>
                </a:moveTo>
                <a:lnTo>
                  <a:pt x="339" y="361"/>
                </a:lnTo>
                <a:lnTo>
                  <a:pt x="339" y="332"/>
                </a:lnTo>
                <a:lnTo>
                  <a:pt x="368" y="332"/>
                </a:lnTo>
                <a:lnTo>
                  <a:pt x="368" y="361"/>
                </a:lnTo>
                <a:close/>
                <a:moveTo>
                  <a:pt x="368" y="263"/>
                </a:moveTo>
                <a:lnTo>
                  <a:pt x="339" y="263"/>
                </a:lnTo>
                <a:lnTo>
                  <a:pt x="339" y="234"/>
                </a:lnTo>
                <a:lnTo>
                  <a:pt x="368" y="234"/>
                </a:lnTo>
                <a:lnTo>
                  <a:pt x="368" y="263"/>
                </a:lnTo>
                <a:close/>
                <a:moveTo>
                  <a:pt x="479" y="655"/>
                </a:moveTo>
                <a:lnTo>
                  <a:pt x="449" y="655"/>
                </a:lnTo>
                <a:lnTo>
                  <a:pt x="449" y="625"/>
                </a:lnTo>
                <a:lnTo>
                  <a:pt x="479" y="625"/>
                </a:lnTo>
                <a:lnTo>
                  <a:pt x="479" y="655"/>
                </a:lnTo>
                <a:close/>
                <a:moveTo>
                  <a:pt x="479" y="557"/>
                </a:moveTo>
                <a:lnTo>
                  <a:pt x="449" y="557"/>
                </a:lnTo>
                <a:lnTo>
                  <a:pt x="449" y="528"/>
                </a:lnTo>
                <a:lnTo>
                  <a:pt x="479" y="528"/>
                </a:lnTo>
                <a:lnTo>
                  <a:pt x="479" y="557"/>
                </a:lnTo>
                <a:close/>
                <a:moveTo>
                  <a:pt x="479" y="459"/>
                </a:moveTo>
                <a:lnTo>
                  <a:pt x="449" y="459"/>
                </a:lnTo>
                <a:lnTo>
                  <a:pt x="449" y="430"/>
                </a:lnTo>
                <a:lnTo>
                  <a:pt x="479" y="430"/>
                </a:lnTo>
                <a:lnTo>
                  <a:pt x="479" y="459"/>
                </a:lnTo>
                <a:close/>
                <a:moveTo>
                  <a:pt x="479" y="361"/>
                </a:moveTo>
                <a:lnTo>
                  <a:pt x="449" y="361"/>
                </a:lnTo>
                <a:lnTo>
                  <a:pt x="449" y="332"/>
                </a:lnTo>
                <a:lnTo>
                  <a:pt x="479" y="332"/>
                </a:lnTo>
                <a:lnTo>
                  <a:pt x="479" y="361"/>
                </a:lnTo>
                <a:close/>
                <a:moveTo>
                  <a:pt x="479" y="263"/>
                </a:moveTo>
                <a:lnTo>
                  <a:pt x="449" y="263"/>
                </a:lnTo>
                <a:lnTo>
                  <a:pt x="449" y="234"/>
                </a:lnTo>
                <a:lnTo>
                  <a:pt x="479" y="234"/>
                </a:lnTo>
                <a:lnTo>
                  <a:pt x="479" y="263"/>
                </a:lnTo>
                <a:close/>
                <a:moveTo>
                  <a:pt x="258" y="655"/>
                </a:moveTo>
                <a:lnTo>
                  <a:pt x="227" y="655"/>
                </a:lnTo>
                <a:lnTo>
                  <a:pt x="227" y="625"/>
                </a:lnTo>
                <a:lnTo>
                  <a:pt x="258" y="625"/>
                </a:lnTo>
                <a:lnTo>
                  <a:pt x="258" y="655"/>
                </a:lnTo>
                <a:close/>
                <a:moveTo>
                  <a:pt x="258" y="557"/>
                </a:moveTo>
                <a:lnTo>
                  <a:pt x="227" y="557"/>
                </a:lnTo>
                <a:lnTo>
                  <a:pt x="227" y="528"/>
                </a:lnTo>
                <a:lnTo>
                  <a:pt x="258" y="528"/>
                </a:lnTo>
                <a:lnTo>
                  <a:pt x="258" y="557"/>
                </a:lnTo>
                <a:close/>
                <a:moveTo>
                  <a:pt x="258" y="459"/>
                </a:moveTo>
                <a:lnTo>
                  <a:pt x="227" y="459"/>
                </a:lnTo>
                <a:lnTo>
                  <a:pt x="227" y="430"/>
                </a:lnTo>
                <a:lnTo>
                  <a:pt x="258" y="430"/>
                </a:lnTo>
                <a:lnTo>
                  <a:pt x="258" y="459"/>
                </a:lnTo>
                <a:close/>
                <a:moveTo>
                  <a:pt x="0" y="0"/>
                </a:moveTo>
                <a:lnTo>
                  <a:pt x="0" y="705"/>
                </a:lnTo>
                <a:lnTo>
                  <a:pt x="159" y="705"/>
                </a:lnTo>
                <a:lnTo>
                  <a:pt x="159" y="650"/>
                </a:lnTo>
                <a:lnTo>
                  <a:pt x="159" y="650"/>
                </a:lnTo>
                <a:lnTo>
                  <a:pt x="159" y="360"/>
                </a:lnTo>
                <a:lnTo>
                  <a:pt x="258" y="360"/>
                </a:lnTo>
                <a:lnTo>
                  <a:pt x="258" y="169"/>
                </a:lnTo>
                <a:lnTo>
                  <a:pt x="546" y="169"/>
                </a:lnTo>
                <a:lnTo>
                  <a:pt x="546" y="674"/>
                </a:lnTo>
                <a:lnTo>
                  <a:pt x="546" y="674"/>
                </a:lnTo>
                <a:lnTo>
                  <a:pt x="546" y="705"/>
                </a:lnTo>
                <a:lnTo>
                  <a:pt x="704" y="705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673" y="674"/>
                </a:moveTo>
                <a:lnTo>
                  <a:pt x="577" y="674"/>
                </a:lnTo>
                <a:lnTo>
                  <a:pt x="577" y="138"/>
                </a:lnTo>
                <a:lnTo>
                  <a:pt x="227" y="138"/>
                </a:lnTo>
                <a:lnTo>
                  <a:pt x="227" y="329"/>
                </a:lnTo>
                <a:lnTo>
                  <a:pt x="128" y="329"/>
                </a:lnTo>
                <a:lnTo>
                  <a:pt x="128" y="674"/>
                </a:lnTo>
                <a:lnTo>
                  <a:pt x="31" y="674"/>
                </a:lnTo>
                <a:lnTo>
                  <a:pt x="31" y="31"/>
                </a:lnTo>
                <a:lnTo>
                  <a:pt x="673" y="31"/>
                </a:lnTo>
                <a:lnTo>
                  <a:pt x="673" y="67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342;p177">
            <a:extLst>
              <a:ext uri="{FF2B5EF4-FFF2-40B4-BE49-F238E27FC236}">
                <a16:creationId xmlns:a16="http://schemas.microsoft.com/office/drawing/2014/main" id="{FBAE55C2-CD60-D5FD-284B-3B68F9478829}"/>
              </a:ext>
            </a:extLst>
          </p:cNvPr>
          <p:cNvSpPr/>
          <p:nvPr/>
        </p:nvSpPr>
        <p:spPr>
          <a:xfrm>
            <a:off x="1855793" y="4804259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25"/>
                </a:moveTo>
                <a:cubicBezTo>
                  <a:pt x="551" y="406"/>
                  <a:pt x="551" y="406"/>
                  <a:pt x="551" y="406"/>
                </a:cubicBezTo>
                <a:cubicBezTo>
                  <a:pt x="548" y="404"/>
                  <a:pt x="544" y="402"/>
                  <a:pt x="540" y="401"/>
                </a:cubicBezTo>
                <a:cubicBezTo>
                  <a:pt x="531" y="397"/>
                  <a:pt x="519" y="393"/>
                  <a:pt x="504" y="388"/>
                </a:cubicBezTo>
                <a:cubicBezTo>
                  <a:pt x="503" y="388"/>
                  <a:pt x="503" y="388"/>
                  <a:pt x="503" y="388"/>
                </a:cubicBezTo>
                <a:cubicBezTo>
                  <a:pt x="489" y="383"/>
                  <a:pt x="481" y="390"/>
                  <a:pt x="477" y="396"/>
                </a:cubicBezTo>
                <a:cubicBezTo>
                  <a:pt x="476" y="397"/>
                  <a:pt x="475" y="398"/>
                  <a:pt x="472" y="398"/>
                </a:cubicBezTo>
                <a:cubicBezTo>
                  <a:pt x="469" y="398"/>
                  <a:pt x="468" y="397"/>
                  <a:pt x="467" y="396"/>
                </a:cubicBezTo>
                <a:cubicBezTo>
                  <a:pt x="463" y="390"/>
                  <a:pt x="455" y="383"/>
                  <a:pt x="440" y="388"/>
                </a:cubicBezTo>
                <a:cubicBezTo>
                  <a:pt x="439" y="388"/>
                  <a:pt x="439" y="388"/>
                  <a:pt x="439" y="388"/>
                </a:cubicBezTo>
                <a:cubicBezTo>
                  <a:pt x="425" y="393"/>
                  <a:pt x="413" y="397"/>
                  <a:pt x="404" y="401"/>
                </a:cubicBezTo>
                <a:cubicBezTo>
                  <a:pt x="394" y="404"/>
                  <a:pt x="386" y="410"/>
                  <a:pt x="380" y="418"/>
                </a:cubicBezTo>
                <a:cubicBezTo>
                  <a:pt x="374" y="410"/>
                  <a:pt x="366" y="404"/>
                  <a:pt x="356" y="401"/>
                </a:cubicBezTo>
                <a:cubicBezTo>
                  <a:pt x="347" y="397"/>
                  <a:pt x="335" y="393"/>
                  <a:pt x="320" y="388"/>
                </a:cubicBezTo>
                <a:cubicBezTo>
                  <a:pt x="319" y="388"/>
                  <a:pt x="319" y="388"/>
                  <a:pt x="319" y="388"/>
                </a:cubicBezTo>
                <a:cubicBezTo>
                  <a:pt x="305" y="383"/>
                  <a:pt x="297" y="390"/>
                  <a:pt x="293" y="396"/>
                </a:cubicBezTo>
                <a:cubicBezTo>
                  <a:pt x="292" y="397"/>
                  <a:pt x="291" y="398"/>
                  <a:pt x="288" y="398"/>
                </a:cubicBezTo>
                <a:cubicBezTo>
                  <a:pt x="285" y="398"/>
                  <a:pt x="284" y="397"/>
                  <a:pt x="283" y="396"/>
                </a:cubicBezTo>
                <a:cubicBezTo>
                  <a:pt x="279" y="390"/>
                  <a:pt x="271" y="383"/>
                  <a:pt x="257" y="388"/>
                </a:cubicBezTo>
                <a:cubicBezTo>
                  <a:pt x="256" y="388"/>
                  <a:pt x="256" y="388"/>
                  <a:pt x="256" y="388"/>
                </a:cubicBezTo>
                <a:cubicBezTo>
                  <a:pt x="241" y="393"/>
                  <a:pt x="229" y="397"/>
                  <a:pt x="220" y="401"/>
                </a:cubicBezTo>
                <a:cubicBezTo>
                  <a:pt x="210" y="404"/>
                  <a:pt x="202" y="410"/>
                  <a:pt x="196" y="418"/>
                </a:cubicBezTo>
                <a:cubicBezTo>
                  <a:pt x="190" y="410"/>
                  <a:pt x="182" y="404"/>
                  <a:pt x="172" y="401"/>
                </a:cubicBezTo>
                <a:cubicBezTo>
                  <a:pt x="163" y="397"/>
                  <a:pt x="151" y="393"/>
                  <a:pt x="136" y="388"/>
                </a:cubicBezTo>
                <a:cubicBezTo>
                  <a:pt x="136" y="388"/>
                  <a:pt x="136" y="388"/>
                  <a:pt x="136" y="388"/>
                </a:cubicBezTo>
                <a:cubicBezTo>
                  <a:pt x="121" y="383"/>
                  <a:pt x="113" y="390"/>
                  <a:pt x="109" y="396"/>
                </a:cubicBezTo>
                <a:cubicBezTo>
                  <a:pt x="108" y="397"/>
                  <a:pt x="107" y="398"/>
                  <a:pt x="104" y="398"/>
                </a:cubicBezTo>
                <a:cubicBezTo>
                  <a:pt x="101" y="398"/>
                  <a:pt x="100" y="397"/>
                  <a:pt x="100" y="396"/>
                </a:cubicBezTo>
                <a:cubicBezTo>
                  <a:pt x="95" y="390"/>
                  <a:pt x="87" y="383"/>
                  <a:pt x="73" y="388"/>
                </a:cubicBezTo>
                <a:cubicBezTo>
                  <a:pt x="72" y="388"/>
                  <a:pt x="72" y="388"/>
                  <a:pt x="72" y="388"/>
                </a:cubicBezTo>
                <a:cubicBezTo>
                  <a:pt x="58" y="393"/>
                  <a:pt x="45" y="397"/>
                  <a:pt x="36" y="401"/>
                </a:cubicBezTo>
                <a:cubicBezTo>
                  <a:pt x="32" y="402"/>
                  <a:pt x="28" y="404"/>
                  <a:pt x="25" y="406"/>
                </a:cubicBezTo>
                <a:cubicBezTo>
                  <a:pt x="25" y="25"/>
                  <a:pt x="25" y="25"/>
                  <a:pt x="25" y="25"/>
                </a:cubicBezTo>
                <a:lnTo>
                  <a:pt x="551" y="25"/>
                </a:lnTo>
                <a:close/>
                <a:moveTo>
                  <a:pt x="208" y="471"/>
                </a:moveTo>
                <a:cubicBezTo>
                  <a:pt x="209" y="467"/>
                  <a:pt x="211" y="450"/>
                  <a:pt x="213" y="440"/>
                </a:cubicBezTo>
                <a:cubicBezTo>
                  <a:pt x="213" y="435"/>
                  <a:pt x="218" y="428"/>
                  <a:pt x="228" y="424"/>
                </a:cubicBezTo>
                <a:cubicBezTo>
                  <a:pt x="237" y="421"/>
                  <a:pt x="249" y="417"/>
                  <a:pt x="264" y="412"/>
                </a:cubicBezTo>
                <a:cubicBezTo>
                  <a:pt x="264" y="411"/>
                  <a:pt x="264" y="411"/>
                  <a:pt x="264" y="411"/>
                </a:cubicBezTo>
                <a:cubicBezTo>
                  <a:pt x="270" y="419"/>
                  <a:pt x="278" y="422"/>
                  <a:pt x="288" y="422"/>
                </a:cubicBezTo>
                <a:cubicBezTo>
                  <a:pt x="298" y="422"/>
                  <a:pt x="306" y="419"/>
                  <a:pt x="312" y="411"/>
                </a:cubicBezTo>
                <a:cubicBezTo>
                  <a:pt x="313" y="412"/>
                  <a:pt x="313" y="412"/>
                  <a:pt x="313" y="412"/>
                </a:cubicBezTo>
                <a:cubicBezTo>
                  <a:pt x="327" y="417"/>
                  <a:pt x="339" y="421"/>
                  <a:pt x="348" y="424"/>
                </a:cubicBezTo>
                <a:cubicBezTo>
                  <a:pt x="358" y="428"/>
                  <a:pt x="363" y="435"/>
                  <a:pt x="364" y="440"/>
                </a:cubicBezTo>
                <a:cubicBezTo>
                  <a:pt x="365" y="450"/>
                  <a:pt x="367" y="467"/>
                  <a:pt x="368" y="471"/>
                </a:cubicBezTo>
                <a:cubicBezTo>
                  <a:pt x="368" y="552"/>
                  <a:pt x="368" y="552"/>
                  <a:pt x="368" y="552"/>
                </a:cubicBezTo>
                <a:cubicBezTo>
                  <a:pt x="208" y="552"/>
                  <a:pt x="208" y="552"/>
                  <a:pt x="208" y="552"/>
                </a:cubicBezTo>
                <a:lnTo>
                  <a:pt x="208" y="471"/>
                </a:lnTo>
                <a:close/>
                <a:moveTo>
                  <a:pt x="25" y="471"/>
                </a:moveTo>
                <a:cubicBezTo>
                  <a:pt x="25" y="467"/>
                  <a:pt x="28" y="450"/>
                  <a:pt x="29" y="440"/>
                </a:cubicBezTo>
                <a:cubicBezTo>
                  <a:pt x="29" y="435"/>
                  <a:pt x="34" y="428"/>
                  <a:pt x="44" y="424"/>
                </a:cubicBezTo>
                <a:cubicBezTo>
                  <a:pt x="51" y="422"/>
                  <a:pt x="62" y="418"/>
                  <a:pt x="80" y="412"/>
                </a:cubicBezTo>
                <a:cubicBezTo>
                  <a:pt x="80" y="411"/>
                  <a:pt x="80" y="411"/>
                  <a:pt x="80" y="411"/>
                </a:cubicBezTo>
                <a:cubicBezTo>
                  <a:pt x="86" y="419"/>
                  <a:pt x="94" y="422"/>
                  <a:pt x="104" y="422"/>
                </a:cubicBezTo>
                <a:cubicBezTo>
                  <a:pt x="114" y="422"/>
                  <a:pt x="122" y="419"/>
                  <a:pt x="128" y="411"/>
                </a:cubicBezTo>
                <a:cubicBezTo>
                  <a:pt x="129" y="412"/>
                  <a:pt x="129" y="412"/>
                  <a:pt x="129" y="412"/>
                </a:cubicBezTo>
                <a:cubicBezTo>
                  <a:pt x="143" y="417"/>
                  <a:pt x="155" y="421"/>
                  <a:pt x="164" y="424"/>
                </a:cubicBezTo>
                <a:cubicBezTo>
                  <a:pt x="175" y="428"/>
                  <a:pt x="179" y="435"/>
                  <a:pt x="180" y="440"/>
                </a:cubicBezTo>
                <a:cubicBezTo>
                  <a:pt x="181" y="450"/>
                  <a:pt x="183" y="467"/>
                  <a:pt x="184" y="471"/>
                </a:cubicBezTo>
                <a:cubicBezTo>
                  <a:pt x="184" y="552"/>
                  <a:pt x="184" y="552"/>
                  <a:pt x="184" y="552"/>
                </a:cubicBezTo>
                <a:cubicBezTo>
                  <a:pt x="25" y="552"/>
                  <a:pt x="25" y="552"/>
                  <a:pt x="25" y="552"/>
                </a:cubicBezTo>
                <a:lnTo>
                  <a:pt x="25" y="471"/>
                </a:lnTo>
                <a:close/>
                <a:moveTo>
                  <a:pt x="392" y="552"/>
                </a:moveTo>
                <a:cubicBezTo>
                  <a:pt x="392" y="471"/>
                  <a:pt x="392" y="471"/>
                  <a:pt x="392" y="471"/>
                </a:cubicBezTo>
                <a:cubicBezTo>
                  <a:pt x="393" y="467"/>
                  <a:pt x="395" y="450"/>
                  <a:pt x="396" y="440"/>
                </a:cubicBezTo>
                <a:cubicBezTo>
                  <a:pt x="397" y="435"/>
                  <a:pt x="401" y="428"/>
                  <a:pt x="412" y="424"/>
                </a:cubicBezTo>
                <a:cubicBezTo>
                  <a:pt x="421" y="421"/>
                  <a:pt x="433" y="417"/>
                  <a:pt x="447" y="412"/>
                </a:cubicBezTo>
                <a:cubicBezTo>
                  <a:pt x="448" y="411"/>
                  <a:pt x="448" y="411"/>
                  <a:pt x="448" y="411"/>
                </a:cubicBezTo>
                <a:cubicBezTo>
                  <a:pt x="454" y="419"/>
                  <a:pt x="462" y="422"/>
                  <a:pt x="472" y="422"/>
                </a:cubicBezTo>
                <a:cubicBezTo>
                  <a:pt x="482" y="422"/>
                  <a:pt x="490" y="419"/>
                  <a:pt x="496" y="411"/>
                </a:cubicBezTo>
                <a:cubicBezTo>
                  <a:pt x="496" y="412"/>
                  <a:pt x="496" y="412"/>
                  <a:pt x="496" y="412"/>
                </a:cubicBezTo>
                <a:cubicBezTo>
                  <a:pt x="511" y="417"/>
                  <a:pt x="523" y="421"/>
                  <a:pt x="532" y="424"/>
                </a:cubicBezTo>
                <a:cubicBezTo>
                  <a:pt x="542" y="428"/>
                  <a:pt x="547" y="435"/>
                  <a:pt x="547" y="440"/>
                </a:cubicBezTo>
                <a:cubicBezTo>
                  <a:pt x="548" y="450"/>
                  <a:pt x="551" y="467"/>
                  <a:pt x="551" y="471"/>
                </a:cubicBezTo>
                <a:cubicBezTo>
                  <a:pt x="551" y="552"/>
                  <a:pt x="551" y="552"/>
                  <a:pt x="551" y="552"/>
                </a:cubicBezTo>
                <a:lnTo>
                  <a:pt x="392" y="552"/>
                </a:lnTo>
                <a:close/>
                <a:moveTo>
                  <a:pt x="104" y="387"/>
                </a:moveTo>
                <a:cubicBezTo>
                  <a:pt x="105" y="387"/>
                  <a:pt x="105" y="387"/>
                  <a:pt x="105" y="387"/>
                </a:cubicBezTo>
                <a:cubicBezTo>
                  <a:pt x="123" y="387"/>
                  <a:pt x="144" y="369"/>
                  <a:pt x="147" y="328"/>
                </a:cubicBezTo>
                <a:cubicBezTo>
                  <a:pt x="148" y="309"/>
                  <a:pt x="141" y="297"/>
                  <a:pt x="135" y="290"/>
                </a:cubicBezTo>
                <a:cubicBezTo>
                  <a:pt x="129" y="284"/>
                  <a:pt x="123" y="281"/>
                  <a:pt x="117" y="279"/>
                </a:cubicBezTo>
                <a:cubicBezTo>
                  <a:pt x="118" y="272"/>
                  <a:pt x="120" y="260"/>
                  <a:pt x="121" y="252"/>
                </a:cubicBezTo>
                <a:cubicBezTo>
                  <a:pt x="121" y="247"/>
                  <a:pt x="126" y="239"/>
                  <a:pt x="136" y="235"/>
                </a:cubicBezTo>
                <a:cubicBezTo>
                  <a:pt x="148" y="231"/>
                  <a:pt x="164" y="226"/>
                  <a:pt x="172" y="223"/>
                </a:cubicBezTo>
                <a:cubicBezTo>
                  <a:pt x="172" y="223"/>
                  <a:pt x="172" y="223"/>
                  <a:pt x="172" y="223"/>
                </a:cubicBezTo>
                <a:cubicBezTo>
                  <a:pt x="178" y="230"/>
                  <a:pt x="186" y="234"/>
                  <a:pt x="196" y="234"/>
                </a:cubicBezTo>
                <a:cubicBezTo>
                  <a:pt x="206" y="234"/>
                  <a:pt x="214" y="230"/>
                  <a:pt x="220" y="223"/>
                </a:cubicBezTo>
                <a:cubicBezTo>
                  <a:pt x="221" y="223"/>
                  <a:pt x="221" y="223"/>
                  <a:pt x="221" y="223"/>
                </a:cubicBezTo>
                <a:cubicBezTo>
                  <a:pt x="228" y="226"/>
                  <a:pt x="244" y="231"/>
                  <a:pt x="256" y="235"/>
                </a:cubicBezTo>
                <a:cubicBezTo>
                  <a:pt x="267" y="239"/>
                  <a:pt x="271" y="247"/>
                  <a:pt x="272" y="252"/>
                </a:cubicBezTo>
                <a:cubicBezTo>
                  <a:pt x="272" y="260"/>
                  <a:pt x="274" y="272"/>
                  <a:pt x="275" y="279"/>
                </a:cubicBezTo>
                <a:cubicBezTo>
                  <a:pt x="269" y="281"/>
                  <a:pt x="263" y="285"/>
                  <a:pt x="258" y="290"/>
                </a:cubicBezTo>
                <a:cubicBezTo>
                  <a:pt x="252" y="297"/>
                  <a:pt x="245" y="309"/>
                  <a:pt x="246" y="328"/>
                </a:cubicBezTo>
                <a:cubicBezTo>
                  <a:pt x="249" y="369"/>
                  <a:pt x="269" y="387"/>
                  <a:pt x="288" y="387"/>
                </a:cubicBezTo>
                <a:cubicBezTo>
                  <a:pt x="288" y="387"/>
                  <a:pt x="288" y="387"/>
                  <a:pt x="288" y="387"/>
                </a:cubicBezTo>
                <a:cubicBezTo>
                  <a:pt x="307" y="387"/>
                  <a:pt x="327" y="369"/>
                  <a:pt x="330" y="328"/>
                </a:cubicBezTo>
                <a:cubicBezTo>
                  <a:pt x="332" y="309"/>
                  <a:pt x="325" y="297"/>
                  <a:pt x="318" y="290"/>
                </a:cubicBezTo>
                <a:cubicBezTo>
                  <a:pt x="313" y="284"/>
                  <a:pt x="307" y="281"/>
                  <a:pt x="301" y="279"/>
                </a:cubicBezTo>
                <a:cubicBezTo>
                  <a:pt x="302" y="272"/>
                  <a:pt x="304" y="260"/>
                  <a:pt x="304" y="252"/>
                </a:cubicBezTo>
                <a:cubicBezTo>
                  <a:pt x="305" y="247"/>
                  <a:pt x="309" y="239"/>
                  <a:pt x="320" y="235"/>
                </a:cubicBezTo>
                <a:cubicBezTo>
                  <a:pt x="332" y="231"/>
                  <a:pt x="348" y="226"/>
                  <a:pt x="356" y="223"/>
                </a:cubicBezTo>
                <a:cubicBezTo>
                  <a:pt x="356" y="223"/>
                  <a:pt x="356" y="223"/>
                  <a:pt x="356" y="223"/>
                </a:cubicBezTo>
                <a:cubicBezTo>
                  <a:pt x="362" y="230"/>
                  <a:pt x="370" y="234"/>
                  <a:pt x="380" y="234"/>
                </a:cubicBezTo>
                <a:cubicBezTo>
                  <a:pt x="390" y="234"/>
                  <a:pt x="398" y="230"/>
                  <a:pt x="404" y="223"/>
                </a:cubicBezTo>
                <a:cubicBezTo>
                  <a:pt x="404" y="223"/>
                  <a:pt x="404" y="223"/>
                  <a:pt x="404" y="223"/>
                </a:cubicBezTo>
                <a:cubicBezTo>
                  <a:pt x="412" y="226"/>
                  <a:pt x="428" y="231"/>
                  <a:pt x="440" y="235"/>
                </a:cubicBezTo>
                <a:cubicBezTo>
                  <a:pt x="450" y="239"/>
                  <a:pt x="455" y="247"/>
                  <a:pt x="455" y="252"/>
                </a:cubicBezTo>
                <a:cubicBezTo>
                  <a:pt x="456" y="260"/>
                  <a:pt x="458" y="272"/>
                  <a:pt x="459" y="279"/>
                </a:cubicBezTo>
                <a:cubicBezTo>
                  <a:pt x="453" y="281"/>
                  <a:pt x="447" y="285"/>
                  <a:pt x="442" y="290"/>
                </a:cubicBezTo>
                <a:cubicBezTo>
                  <a:pt x="436" y="297"/>
                  <a:pt x="428" y="309"/>
                  <a:pt x="430" y="328"/>
                </a:cubicBezTo>
                <a:cubicBezTo>
                  <a:pt x="433" y="369"/>
                  <a:pt x="453" y="387"/>
                  <a:pt x="472" y="387"/>
                </a:cubicBezTo>
                <a:cubicBezTo>
                  <a:pt x="472" y="387"/>
                  <a:pt x="472" y="387"/>
                  <a:pt x="472" y="387"/>
                </a:cubicBezTo>
                <a:cubicBezTo>
                  <a:pt x="491" y="387"/>
                  <a:pt x="511" y="369"/>
                  <a:pt x="514" y="328"/>
                </a:cubicBezTo>
                <a:cubicBezTo>
                  <a:pt x="516" y="309"/>
                  <a:pt x="509" y="297"/>
                  <a:pt x="502" y="290"/>
                </a:cubicBezTo>
                <a:cubicBezTo>
                  <a:pt x="497" y="284"/>
                  <a:pt x="490" y="280"/>
                  <a:pt x="484" y="278"/>
                </a:cubicBezTo>
                <a:cubicBezTo>
                  <a:pt x="483" y="274"/>
                  <a:pt x="481" y="258"/>
                  <a:pt x="480" y="249"/>
                </a:cubicBezTo>
                <a:cubicBezTo>
                  <a:pt x="478" y="233"/>
                  <a:pt x="466" y="219"/>
                  <a:pt x="448" y="212"/>
                </a:cubicBezTo>
                <a:cubicBezTo>
                  <a:pt x="436" y="208"/>
                  <a:pt x="420" y="203"/>
                  <a:pt x="412" y="200"/>
                </a:cubicBezTo>
                <a:cubicBezTo>
                  <a:pt x="411" y="200"/>
                  <a:pt x="411" y="200"/>
                  <a:pt x="411" y="200"/>
                </a:cubicBezTo>
                <a:cubicBezTo>
                  <a:pt x="397" y="195"/>
                  <a:pt x="389" y="201"/>
                  <a:pt x="385" y="207"/>
                </a:cubicBezTo>
                <a:cubicBezTo>
                  <a:pt x="384" y="209"/>
                  <a:pt x="383" y="209"/>
                  <a:pt x="380" y="209"/>
                </a:cubicBezTo>
                <a:cubicBezTo>
                  <a:pt x="377" y="209"/>
                  <a:pt x="376" y="209"/>
                  <a:pt x="375" y="207"/>
                </a:cubicBezTo>
                <a:cubicBezTo>
                  <a:pt x="371" y="201"/>
                  <a:pt x="363" y="195"/>
                  <a:pt x="348" y="200"/>
                </a:cubicBezTo>
                <a:cubicBezTo>
                  <a:pt x="348" y="200"/>
                  <a:pt x="348" y="200"/>
                  <a:pt x="348" y="200"/>
                </a:cubicBezTo>
                <a:cubicBezTo>
                  <a:pt x="340" y="203"/>
                  <a:pt x="324" y="208"/>
                  <a:pt x="312" y="212"/>
                </a:cubicBezTo>
                <a:cubicBezTo>
                  <a:pt x="302" y="216"/>
                  <a:pt x="294" y="222"/>
                  <a:pt x="288" y="229"/>
                </a:cubicBezTo>
                <a:cubicBezTo>
                  <a:pt x="282" y="222"/>
                  <a:pt x="274" y="216"/>
                  <a:pt x="264" y="212"/>
                </a:cubicBezTo>
                <a:cubicBezTo>
                  <a:pt x="252" y="208"/>
                  <a:pt x="236" y="203"/>
                  <a:pt x="228" y="200"/>
                </a:cubicBezTo>
                <a:cubicBezTo>
                  <a:pt x="228" y="200"/>
                  <a:pt x="228" y="200"/>
                  <a:pt x="228" y="200"/>
                </a:cubicBezTo>
                <a:cubicBezTo>
                  <a:pt x="213" y="195"/>
                  <a:pt x="205" y="201"/>
                  <a:pt x="201" y="207"/>
                </a:cubicBezTo>
                <a:cubicBezTo>
                  <a:pt x="200" y="209"/>
                  <a:pt x="199" y="209"/>
                  <a:pt x="196" y="209"/>
                </a:cubicBezTo>
                <a:cubicBezTo>
                  <a:pt x="193" y="209"/>
                  <a:pt x="192" y="209"/>
                  <a:pt x="191" y="207"/>
                </a:cubicBezTo>
                <a:cubicBezTo>
                  <a:pt x="187" y="201"/>
                  <a:pt x="179" y="195"/>
                  <a:pt x="165" y="200"/>
                </a:cubicBezTo>
                <a:cubicBezTo>
                  <a:pt x="164" y="200"/>
                  <a:pt x="164" y="200"/>
                  <a:pt x="164" y="200"/>
                </a:cubicBezTo>
                <a:cubicBezTo>
                  <a:pt x="156" y="203"/>
                  <a:pt x="140" y="208"/>
                  <a:pt x="128" y="212"/>
                </a:cubicBezTo>
                <a:cubicBezTo>
                  <a:pt x="110" y="219"/>
                  <a:pt x="98" y="233"/>
                  <a:pt x="96" y="249"/>
                </a:cubicBezTo>
                <a:cubicBezTo>
                  <a:pt x="95" y="258"/>
                  <a:pt x="93" y="274"/>
                  <a:pt x="92" y="278"/>
                </a:cubicBezTo>
                <a:cubicBezTo>
                  <a:pt x="86" y="281"/>
                  <a:pt x="80" y="284"/>
                  <a:pt x="74" y="290"/>
                </a:cubicBezTo>
                <a:cubicBezTo>
                  <a:pt x="68" y="297"/>
                  <a:pt x="61" y="309"/>
                  <a:pt x="62" y="328"/>
                </a:cubicBezTo>
                <a:cubicBezTo>
                  <a:pt x="65" y="369"/>
                  <a:pt x="85" y="387"/>
                  <a:pt x="104" y="387"/>
                </a:cubicBezTo>
                <a:close/>
                <a:moveTo>
                  <a:pt x="490" y="326"/>
                </a:moveTo>
                <a:cubicBezTo>
                  <a:pt x="488" y="351"/>
                  <a:pt x="478" y="362"/>
                  <a:pt x="472" y="362"/>
                </a:cubicBezTo>
                <a:cubicBezTo>
                  <a:pt x="472" y="362"/>
                  <a:pt x="472" y="362"/>
                  <a:pt x="472" y="362"/>
                </a:cubicBezTo>
                <a:cubicBezTo>
                  <a:pt x="466" y="362"/>
                  <a:pt x="456" y="351"/>
                  <a:pt x="454" y="326"/>
                </a:cubicBezTo>
                <a:cubicBezTo>
                  <a:pt x="454" y="318"/>
                  <a:pt x="456" y="311"/>
                  <a:pt x="460" y="307"/>
                </a:cubicBezTo>
                <a:cubicBezTo>
                  <a:pt x="464" y="302"/>
                  <a:pt x="470" y="301"/>
                  <a:pt x="472" y="301"/>
                </a:cubicBezTo>
                <a:cubicBezTo>
                  <a:pt x="472" y="301"/>
                  <a:pt x="472" y="301"/>
                  <a:pt x="472" y="301"/>
                </a:cubicBezTo>
                <a:cubicBezTo>
                  <a:pt x="474" y="301"/>
                  <a:pt x="480" y="302"/>
                  <a:pt x="484" y="307"/>
                </a:cubicBezTo>
                <a:cubicBezTo>
                  <a:pt x="489" y="311"/>
                  <a:pt x="490" y="318"/>
                  <a:pt x="490" y="326"/>
                </a:cubicBezTo>
                <a:close/>
                <a:moveTo>
                  <a:pt x="306" y="326"/>
                </a:moveTo>
                <a:cubicBezTo>
                  <a:pt x="304" y="351"/>
                  <a:pt x="295" y="362"/>
                  <a:pt x="288" y="362"/>
                </a:cubicBezTo>
                <a:cubicBezTo>
                  <a:pt x="288" y="362"/>
                  <a:pt x="288" y="362"/>
                  <a:pt x="288" y="362"/>
                </a:cubicBezTo>
                <a:cubicBezTo>
                  <a:pt x="282" y="362"/>
                  <a:pt x="272" y="351"/>
                  <a:pt x="271" y="326"/>
                </a:cubicBezTo>
                <a:cubicBezTo>
                  <a:pt x="270" y="318"/>
                  <a:pt x="272" y="311"/>
                  <a:pt x="276" y="307"/>
                </a:cubicBezTo>
                <a:cubicBezTo>
                  <a:pt x="280" y="302"/>
                  <a:pt x="286" y="301"/>
                  <a:pt x="288" y="301"/>
                </a:cubicBezTo>
                <a:cubicBezTo>
                  <a:pt x="288" y="301"/>
                  <a:pt x="288" y="301"/>
                  <a:pt x="288" y="301"/>
                </a:cubicBezTo>
                <a:cubicBezTo>
                  <a:pt x="290" y="301"/>
                  <a:pt x="296" y="302"/>
                  <a:pt x="300" y="307"/>
                </a:cubicBezTo>
                <a:cubicBezTo>
                  <a:pt x="305" y="311"/>
                  <a:pt x="306" y="318"/>
                  <a:pt x="306" y="326"/>
                </a:cubicBezTo>
                <a:close/>
                <a:moveTo>
                  <a:pt x="92" y="307"/>
                </a:moveTo>
                <a:cubicBezTo>
                  <a:pt x="96" y="302"/>
                  <a:pt x="102" y="301"/>
                  <a:pt x="104" y="301"/>
                </a:cubicBezTo>
                <a:cubicBezTo>
                  <a:pt x="105" y="301"/>
                  <a:pt x="105" y="301"/>
                  <a:pt x="105" y="301"/>
                </a:cubicBezTo>
                <a:cubicBezTo>
                  <a:pt x="107" y="301"/>
                  <a:pt x="112" y="302"/>
                  <a:pt x="117" y="307"/>
                </a:cubicBezTo>
                <a:cubicBezTo>
                  <a:pt x="121" y="311"/>
                  <a:pt x="123" y="318"/>
                  <a:pt x="122" y="326"/>
                </a:cubicBezTo>
                <a:cubicBezTo>
                  <a:pt x="120" y="351"/>
                  <a:pt x="111" y="362"/>
                  <a:pt x="105" y="362"/>
                </a:cubicBezTo>
                <a:cubicBezTo>
                  <a:pt x="104" y="362"/>
                  <a:pt x="104" y="362"/>
                  <a:pt x="104" y="362"/>
                </a:cubicBezTo>
                <a:cubicBezTo>
                  <a:pt x="98" y="362"/>
                  <a:pt x="88" y="351"/>
                  <a:pt x="87" y="326"/>
                </a:cubicBezTo>
                <a:cubicBezTo>
                  <a:pt x="86" y="318"/>
                  <a:pt x="88" y="311"/>
                  <a:pt x="92" y="307"/>
                </a:cubicBezTo>
                <a:close/>
                <a:moveTo>
                  <a:pt x="196" y="198"/>
                </a:moveTo>
                <a:cubicBezTo>
                  <a:pt x="197" y="198"/>
                  <a:pt x="197" y="198"/>
                  <a:pt x="197" y="198"/>
                </a:cubicBezTo>
                <a:cubicBezTo>
                  <a:pt x="215" y="198"/>
                  <a:pt x="236" y="180"/>
                  <a:pt x="238" y="140"/>
                </a:cubicBezTo>
                <a:cubicBezTo>
                  <a:pt x="240" y="120"/>
                  <a:pt x="233" y="108"/>
                  <a:pt x="227" y="102"/>
                </a:cubicBezTo>
                <a:cubicBezTo>
                  <a:pt x="217" y="91"/>
                  <a:pt x="204" y="88"/>
                  <a:pt x="197" y="88"/>
                </a:cubicBezTo>
                <a:cubicBezTo>
                  <a:pt x="196" y="88"/>
                  <a:pt x="196" y="88"/>
                  <a:pt x="196" y="88"/>
                </a:cubicBezTo>
                <a:cubicBezTo>
                  <a:pt x="188" y="88"/>
                  <a:pt x="176" y="91"/>
                  <a:pt x="166" y="102"/>
                </a:cubicBezTo>
                <a:cubicBezTo>
                  <a:pt x="160" y="108"/>
                  <a:pt x="153" y="120"/>
                  <a:pt x="154" y="140"/>
                </a:cubicBezTo>
                <a:cubicBezTo>
                  <a:pt x="157" y="180"/>
                  <a:pt x="177" y="198"/>
                  <a:pt x="196" y="198"/>
                </a:cubicBezTo>
                <a:close/>
                <a:moveTo>
                  <a:pt x="184" y="118"/>
                </a:moveTo>
                <a:cubicBezTo>
                  <a:pt x="188" y="114"/>
                  <a:pt x="194" y="112"/>
                  <a:pt x="196" y="112"/>
                </a:cubicBezTo>
                <a:cubicBezTo>
                  <a:pt x="197" y="112"/>
                  <a:pt x="197" y="112"/>
                  <a:pt x="197" y="112"/>
                </a:cubicBezTo>
                <a:cubicBezTo>
                  <a:pt x="198" y="112"/>
                  <a:pt x="204" y="114"/>
                  <a:pt x="209" y="118"/>
                </a:cubicBezTo>
                <a:cubicBezTo>
                  <a:pt x="213" y="123"/>
                  <a:pt x="215" y="129"/>
                  <a:pt x="214" y="138"/>
                </a:cubicBezTo>
                <a:cubicBezTo>
                  <a:pt x="212" y="162"/>
                  <a:pt x="203" y="173"/>
                  <a:pt x="197" y="173"/>
                </a:cubicBezTo>
                <a:cubicBezTo>
                  <a:pt x="196" y="173"/>
                  <a:pt x="196" y="173"/>
                  <a:pt x="196" y="173"/>
                </a:cubicBezTo>
                <a:cubicBezTo>
                  <a:pt x="190" y="173"/>
                  <a:pt x="180" y="162"/>
                  <a:pt x="179" y="138"/>
                </a:cubicBezTo>
                <a:cubicBezTo>
                  <a:pt x="178" y="129"/>
                  <a:pt x="180" y="123"/>
                  <a:pt x="184" y="118"/>
                </a:cubicBezTo>
                <a:close/>
                <a:moveTo>
                  <a:pt x="380" y="198"/>
                </a:moveTo>
                <a:cubicBezTo>
                  <a:pt x="380" y="198"/>
                  <a:pt x="380" y="198"/>
                  <a:pt x="380" y="198"/>
                </a:cubicBezTo>
                <a:cubicBezTo>
                  <a:pt x="399" y="198"/>
                  <a:pt x="419" y="180"/>
                  <a:pt x="422" y="140"/>
                </a:cubicBezTo>
                <a:cubicBezTo>
                  <a:pt x="424" y="120"/>
                  <a:pt x="417" y="108"/>
                  <a:pt x="410" y="102"/>
                </a:cubicBezTo>
                <a:cubicBezTo>
                  <a:pt x="401" y="91"/>
                  <a:pt x="388" y="88"/>
                  <a:pt x="380" y="88"/>
                </a:cubicBezTo>
                <a:cubicBezTo>
                  <a:pt x="380" y="88"/>
                  <a:pt x="380" y="88"/>
                  <a:pt x="380" y="88"/>
                </a:cubicBezTo>
                <a:cubicBezTo>
                  <a:pt x="372" y="88"/>
                  <a:pt x="359" y="91"/>
                  <a:pt x="350" y="102"/>
                </a:cubicBezTo>
                <a:cubicBezTo>
                  <a:pt x="344" y="108"/>
                  <a:pt x="337" y="120"/>
                  <a:pt x="338" y="140"/>
                </a:cubicBezTo>
                <a:cubicBezTo>
                  <a:pt x="341" y="180"/>
                  <a:pt x="361" y="198"/>
                  <a:pt x="380" y="198"/>
                </a:cubicBezTo>
                <a:close/>
                <a:moveTo>
                  <a:pt x="368" y="118"/>
                </a:moveTo>
                <a:cubicBezTo>
                  <a:pt x="372" y="114"/>
                  <a:pt x="378" y="112"/>
                  <a:pt x="380" y="112"/>
                </a:cubicBezTo>
                <a:cubicBezTo>
                  <a:pt x="380" y="112"/>
                  <a:pt x="380" y="112"/>
                  <a:pt x="380" y="112"/>
                </a:cubicBezTo>
                <a:cubicBezTo>
                  <a:pt x="382" y="112"/>
                  <a:pt x="388" y="114"/>
                  <a:pt x="392" y="118"/>
                </a:cubicBezTo>
                <a:cubicBezTo>
                  <a:pt x="397" y="123"/>
                  <a:pt x="398" y="129"/>
                  <a:pt x="398" y="138"/>
                </a:cubicBezTo>
                <a:cubicBezTo>
                  <a:pt x="396" y="162"/>
                  <a:pt x="387" y="173"/>
                  <a:pt x="380" y="173"/>
                </a:cubicBezTo>
                <a:cubicBezTo>
                  <a:pt x="380" y="173"/>
                  <a:pt x="380" y="173"/>
                  <a:pt x="380" y="173"/>
                </a:cubicBezTo>
                <a:cubicBezTo>
                  <a:pt x="374" y="173"/>
                  <a:pt x="364" y="162"/>
                  <a:pt x="362" y="138"/>
                </a:cubicBezTo>
                <a:cubicBezTo>
                  <a:pt x="362" y="129"/>
                  <a:pt x="364" y="123"/>
                  <a:pt x="368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343;p177">
            <a:extLst>
              <a:ext uri="{FF2B5EF4-FFF2-40B4-BE49-F238E27FC236}">
                <a16:creationId xmlns:a16="http://schemas.microsoft.com/office/drawing/2014/main" id="{54279A06-8BAC-E0E4-BA38-4459D36E7C24}"/>
              </a:ext>
            </a:extLst>
          </p:cNvPr>
          <p:cNvSpPr txBox="1"/>
          <p:nvPr/>
        </p:nvSpPr>
        <p:spPr>
          <a:xfrm>
            <a:off x="4752768" y="4085107"/>
            <a:ext cx="28005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400">
                <a:latin typeface="+mj-lt"/>
              </a:rPr>
              <a:t>Kommunal beredskapsplikt</a:t>
            </a:r>
          </a:p>
        </p:txBody>
      </p:sp>
      <p:sp>
        <p:nvSpPr>
          <p:cNvPr id="37" name="Google Shape;1344;p177">
            <a:extLst>
              <a:ext uri="{FF2B5EF4-FFF2-40B4-BE49-F238E27FC236}">
                <a16:creationId xmlns:a16="http://schemas.microsoft.com/office/drawing/2014/main" id="{E16DF54A-8764-5C2B-372A-ECA68B40F385}"/>
              </a:ext>
            </a:extLst>
          </p:cNvPr>
          <p:cNvSpPr txBox="1"/>
          <p:nvPr/>
        </p:nvSpPr>
        <p:spPr>
          <a:xfrm>
            <a:off x="1587243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Sosial beredskap</a:t>
            </a:r>
            <a:endParaRPr sz="1000"/>
          </a:p>
        </p:txBody>
      </p:sp>
      <p:sp>
        <p:nvSpPr>
          <p:cNvPr id="38" name="Google Shape;1345;p177">
            <a:extLst>
              <a:ext uri="{FF2B5EF4-FFF2-40B4-BE49-F238E27FC236}">
                <a16:creationId xmlns:a16="http://schemas.microsoft.com/office/drawing/2014/main" id="{476C3774-B896-0616-1D47-E76BD68653B6}"/>
              </a:ext>
            </a:extLst>
          </p:cNvPr>
          <p:cNvSpPr txBox="1"/>
          <p:nvPr/>
        </p:nvSpPr>
        <p:spPr>
          <a:xfrm>
            <a:off x="2486818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Drikkevann</a:t>
            </a:r>
            <a:endParaRPr sz="1000"/>
          </a:p>
        </p:txBody>
      </p:sp>
      <p:sp>
        <p:nvSpPr>
          <p:cNvPr id="39" name="Google Shape;1346;p177">
            <a:extLst>
              <a:ext uri="{FF2B5EF4-FFF2-40B4-BE49-F238E27FC236}">
                <a16:creationId xmlns:a16="http://schemas.microsoft.com/office/drawing/2014/main" id="{2EFC7144-AFC7-A0EC-CAE6-DBEA37420E96}"/>
              </a:ext>
            </a:extLst>
          </p:cNvPr>
          <p:cNvSpPr txBox="1"/>
          <p:nvPr/>
        </p:nvSpPr>
        <p:spPr>
          <a:xfrm>
            <a:off x="3386368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Skole og oppvekst</a:t>
            </a:r>
            <a:endParaRPr sz="1000"/>
          </a:p>
        </p:txBody>
      </p:sp>
      <p:sp>
        <p:nvSpPr>
          <p:cNvPr id="40" name="Google Shape;1347;p177">
            <a:extLst>
              <a:ext uri="{FF2B5EF4-FFF2-40B4-BE49-F238E27FC236}">
                <a16:creationId xmlns:a16="http://schemas.microsoft.com/office/drawing/2014/main" id="{61F99CA5-9A58-C308-36EB-2A095F79F2E4}"/>
              </a:ext>
            </a:extLst>
          </p:cNvPr>
          <p:cNvSpPr txBox="1"/>
          <p:nvPr/>
        </p:nvSpPr>
        <p:spPr>
          <a:xfrm>
            <a:off x="4285943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Akutt forurensing</a:t>
            </a:r>
            <a:endParaRPr sz="1000"/>
          </a:p>
        </p:txBody>
      </p:sp>
      <p:sp>
        <p:nvSpPr>
          <p:cNvPr id="41" name="Google Shape;1348;p177">
            <a:extLst>
              <a:ext uri="{FF2B5EF4-FFF2-40B4-BE49-F238E27FC236}">
                <a16:creationId xmlns:a16="http://schemas.microsoft.com/office/drawing/2014/main" id="{50473B58-9CBC-E332-08CB-5754C56F86C8}"/>
              </a:ext>
            </a:extLst>
          </p:cNvPr>
          <p:cNvSpPr txBox="1"/>
          <p:nvPr/>
        </p:nvSpPr>
        <p:spPr>
          <a:xfrm>
            <a:off x="5185493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Helse og omsorg</a:t>
            </a:r>
            <a:endParaRPr sz="1000"/>
          </a:p>
        </p:txBody>
      </p:sp>
      <p:sp>
        <p:nvSpPr>
          <p:cNvPr id="42" name="Google Shape;1349;p177">
            <a:extLst>
              <a:ext uri="{FF2B5EF4-FFF2-40B4-BE49-F238E27FC236}">
                <a16:creationId xmlns:a16="http://schemas.microsoft.com/office/drawing/2014/main" id="{1ABF1E9C-8D27-E9EF-68F7-90BF83A95E54}"/>
              </a:ext>
            </a:extLst>
          </p:cNvPr>
          <p:cNvSpPr txBox="1"/>
          <p:nvPr/>
        </p:nvSpPr>
        <p:spPr>
          <a:xfrm>
            <a:off x="6085068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Brann og redning</a:t>
            </a:r>
            <a:endParaRPr sz="1000"/>
          </a:p>
        </p:txBody>
      </p:sp>
      <p:sp>
        <p:nvSpPr>
          <p:cNvPr id="43" name="Google Shape;1350;p177">
            <a:extLst>
              <a:ext uri="{FF2B5EF4-FFF2-40B4-BE49-F238E27FC236}">
                <a16:creationId xmlns:a16="http://schemas.microsoft.com/office/drawing/2014/main" id="{67501D5C-AEBA-5DE0-798D-A700F9435CA5}"/>
              </a:ext>
            </a:extLst>
          </p:cNvPr>
          <p:cNvSpPr txBox="1"/>
          <p:nvPr/>
        </p:nvSpPr>
        <p:spPr>
          <a:xfrm>
            <a:off x="6984618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Kommune-</a:t>
            </a:r>
            <a:br>
              <a:rPr lang="en" sz="1000"/>
            </a:br>
            <a:r>
              <a:rPr lang="en" sz="1000"/>
              <a:t>planlegging</a:t>
            </a:r>
            <a:endParaRPr sz="1000"/>
          </a:p>
        </p:txBody>
      </p:sp>
      <p:sp>
        <p:nvSpPr>
          <p:cNvPr id="44" name="Google Shape;1351;p177">
            <a:extLst>
              <a:ext uri="{FF2B5EF4-FFF2-40B4-BE49-F238E27FC236}">
                <a16:creationId xmlns:a16="http://schemas.microsoft.com/office/drawing/2014/main" id="{34378902-1BF1-A932-600D-78BA508919FD}"/>
              </a:ext>
            </a:extLst>
          </p:cNvPr>
          <p:cNvSpPr txBox="1"/>
          <p:nvPr/>
        </p:nvSpPr>
        <p:spPr>
          <a:xfrm>
            <a:off x="7884193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Sivilforsvars-</a:t>
            </a:r>
            <a:br>
              <a:rPr lang="en" sz="1000"/>
            </a:br>
            <a:r>
              <a:rPr lang="en" sz="1000"/>
              <a:t>plikter</a:t>
            </a:r>
            <a:endParaRPr sz="1000"/>
          </a:p>
        </p:txBody>
      </p:sp>
      <p:sp>
        <p:nvSpPr>
          <p:cNvPr id="45" name="Google Shape;1352;p177">
            <a:extLst>
              <a:ext uri="{FF2B5EF4-FFF2-40B4-BE49-F238E27FC236}">
                <a16:creationId xmlns:a16="http://schemas.microsoft.com/office/drawing/2014/main" id="{7BB45D80-3D6C-AC4C-D177-B35F6A56C4DB}"/>
              </a:ext>
            </a:extLst>
          </p:cNvPr>
          <p:cNvSpPr txBox="1"/>
          <p:nvPr/>
        </p:nvSpPr>
        <p:spPr>
          <a:xfrm>
            <a:off x="8783743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Nærings-</a:t>
            </a:r>
            <a:endParaRPr sz="10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beredskap</a:t>
            </a:r>
            <a:endParaRPr sz="1000"/>
          </a:p>
        </p:txBody>
      </p:sp>
      <p:sp>
        <p:nvSpPr>
          <p:cNvPr id="46" name="Google Shape;1353;p177">
            <a:extLst>
              <a:ext uri="{FF2B5EF4-FFF2-40B4-BE49-F238E27FC236}">
                <a16:creationId xmlns:a16="http://schemas.microsoft.com/office/drawing/2014/main" id="{A61ECF80-CA9C-65FF-4EE8-C37643DF9964}"/>
              </a:ext>
            </a:extLst>
          </p:cNvPr>
          <p:cNvSpPr txBox="1"/>
          <p:nvPr/>
        </p:nvSpPr>
        <p:spPr>
          <a:xfrm>
            <a:off x="9683318" y="5380507"/>
            <a:ext cx="993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/>
              <a:t>Eksterne aktører</a:t>
            </a:r>
            <a:endParaRPr sz="1000"/>
          </a:p>
        </p:txBody>
      </p:sp>
      <p:cxnSp>
        <p:nvCxnSpPr>
          <p:cNvPr id="47" name="Google Shape;1354;p177">
            <a:extLst>
              <a:ext uri="{FF2B5EF4-FFF2-40B4-BE49-F238E27FC236}">
                <a16:creationId xmlns:a16="http://schemas.microsoft.com/office/drawing/2014/main" id="{FE0847F2-9B86-74B2-CE95-8D5D0CE438AA}"/>
              </a:ext>
            </a:extLst>
          </p:cNvPr>
          <p:cNvCxnSpPr>
            <a:cxnSpLocks/>
          </p:cNvCxnSpPr>
          <p:nvPr/>
        </p:nvCxnSpPr>
        <p:spPr>
          <a:xfrm rot="10800000">
            <a:off x="1725968" y="4275682"/>
            <a:ext cx="3209400" cy="111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" name="Google Shape;1355;p177">
            <a:extLst>
              <a:ext uri="{FF2B5EF4-FFF2-40B4-BE49-F238E27FC236}">
                <a16:creationId xmlns:a16="http://schemas.microsoft.com/office/drawing/2014/main" id="{041F5993-BD52-7F63-A84F-4E4D655DC01D}"/>
              </a:ext>
            </a:extLst>
          </p:cNvPr>
          <p:cNvCxnSpPr/>
          <p:nvPr/>
        </p:nvCxnSpPr>
        <p:spPr>
          <a:xfrm flipH="1">
            <a:off x="7406718" y="4275607"/>
            <a:ext cx="3213600" cy="39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9" name="Google Shape;1356;p177">
            <a:extLst>
              <a:ext uri="{FF2B5EF4-FFF2-40B4-BE49-F238E27FC236}">
                <a16:creationId xmlns:a16="http://schemas.microsoft.com/office/drawing/2014/main" id="{76D79B42-C5CD-97C5-A5D3-1EB70A417CE9}"/>
              </a:ext>
            </a:extLst>
          </p:cNvPr>
          <p:cNvCxnSpPr/>
          <p:nvPr/>
        </p:nvCxnSpPr>
        <p:spPr>
          <a:xfrm rot="10800000">
            <a:off x="1726068" y="4275607"/>
            <a:ext cx="0" cy="1905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0" name="Google Shape;1357;p177">
            <a:extLst>
              <a:ext uri="{FF2B5EF4-FFF2-40B4-BE49-F238E27FC236}">
                <a16:creationId xmlns:a16="http://schemas.microsoft.com/office/drawing/2014/main" id="{71D89BD4-2031-1F5B-B588-2FF51A837043}"/>
              </a:ext>
            </a:extLst>
          </p:cNvPr>
          <p:cNvCxnSpPr/>
          <p:nvPr/>
        </p:nvCxnSpPr>
        <p:spPr>
          <a:xfrm rot="10800000">
            <a:off x="10620318" y="4275607"/>
            <a:ext cx="0" cy="1905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1" name="Google Shape;1358;p177">
            <a:extLst>
              <a:ext uri="{FF2B5EF4-FFF2-40B4-BE49-F238E27FC236}">
                <a16:creationId xmlns:a16="http://schemas.microsoft.com/office/drawing/2014/main" id="{BCAA9C87-0712-E0CD-CF0C-FF63777B67D7}"/>
              </a:ext>
            </a:extLst>
          </p:cNvPr>
          <p:cNvSpPr txBox="1"/>
          <p:nvPr/>
        </p:nvSpPr>
        <p:spPr>
          <a:xfrm>
            <a:off x="9881616" y="5887312"/>
            <a:ext cx="3070200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/>
              <a:t>*Modell: NOU 2023:17, figur 5.1 side 68</a:t>
            </a:r>
            <a:endParaRPr sz="800"/>
          </a:p>
        </p:txBody>
      </p:sp>
    </p:spTree>
    <p:extLst>
      <p:ext uri="{BB962C8B-B14F-4D97-AF65-F5344CB8AC3E}">
        <p14:creationId xmlns:p14="http://schemas.microsoft.com/office/powerpoint/2010/main" val="1462671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CFDDD-5BE2-C2A8-5256-55AB043E1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9867326-117A-10B1-57E1-ABF99C42F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67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867326-117A-10B1-57E1-ABF99C42F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oogle Shape;1318;p176">
            <a:extLst>
              <a:ext uri="{FF2B5EF4-FFF2-40B4-BE49-F238E27FC236}">
                <a16:creationId xmlns:a16="http://schemas.microsoft.com/office/drawing/2014/main" id="{BFCB4307-2A6A-F0D0-52FD-57F53DAC0C90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28230" t="16111" r="28230" b="3773"/>
          <a:stretch/>
        </p:blipFill>
        <p:spPr>
          <a:xfrm>
            <a:off x="9156760" y="2256550"/>
            <a:ext cx="2602212" cy="2602212"/>
          </a:xfrm>
          <a:prstGeom prst="ellipse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20" name="Google Shape;1319;p176">
            <a:extLst>
              <a:ext uri="{FF2B5EF4-FFF2-40B4-BE49-F238E27FC236}">
                <a16:creationId xmlns:a16="http://schemas.microsoft.com/office/drawing/2014/main" id="{F5F04160-8E50-3C77-D1A4-A65D194FAEF8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29607"/>
          <a:stretch/>
        </p:blipFill>
        <p:spPr>
          <a:xfrm>
            <a:off x="4823745" y="2256550"/>
            <a:ext cx="2602212" cy="2602212"/>
          </a:xfrm>
          <a:prstGeom prst="ellipse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21" name="Google Shape;1320;p176">
            <a:extLst>
              <a:ext uri="{FF2B5EF4-FFF2-40B4-BE49-F238E27FC236}">
                <a16:creationId xmlns:a16="http://schemas.microsoft.com/office/drawing/2014/main" id="{63C6592F-5A40-68FF-9D23-35501593C438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t="1601" b="27536"/>
          <a:stretch/>
        </p:blipFill>
        <p:spPr>
          <a:xfrm>
            <a:off x="552138" y="2256550"/>
            <a:ext cx="2602212" cy="2602212"/>
          </a:xfrm>
          <a:prstGeom prst="ellipse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8A6D945E-0C36-CBF5-A735-1CC10953B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331293" cy="915289"/>
          </a:xfrm>
        </p:spPr>
        <p:txBody>
          <a:bodyPr vert="horz"/>
          <a:lstStyle/>
          <a:p>
            <a:r>
              <a:rPr lang="nb-NO"/>
              <a:t>I et totalberedskapsperspektiv er det helt åpenbart at kommunene bør samarbeide mer og tettere</a:t>
            </a:r>
          </a:p>
        </p:txBody>
      </p:sp>
    </p:spTree>
    <p:extLst>
      <p:ext uri="{BB962C8B-B14F-4D97-AF65-F5344CB8AC3E}">
        <p14:creationId xmlns:p14="http://schemas.microsoft.com/office/powerpoint/2010/main" val="94280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CF8EF2-9011-E310-6432-41375DA0E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B45E91C-EC12-FEBF-140B-84B006D879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45E91C-EC12-FEBF-140B-84B006D87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9CC4864-D8FC-EAC8-498C-D26A44619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402336"/>
            <a:ext cx="10967563" cy="915289"/>
          </a:xfrm>
        </p:spPr>
        <p:txBody>
          <a:bodyPr vert="horz"/>
          <a:lstStyle/>
          <a:p>
            <a:r>
              <a:rPr lang="nb-NO"/>
              <a:t>Våre analyser baserer seg på et bredt og sammensatt datagrunnlag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D3F1BC-CDE3-E045-5F69-44ACF0A255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4375573"/>
            <a:ext cx="3280410" cy="1563265"/>
          </a:xfrm>
        </p:spPr>
        <p:txBody>
          <a:bodyPr/>
          <a:lstStyle/>
          <a:p>
            <a:pPr algn="ctr"/>
            <a:r>
              <a:rPr lang="nb-NO" sz="1500" b="0"/>
              <a:t>Dokumentgjennomga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67C9B18-FFBB-A6DB-62DD-CEDD8D04B4D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2435" y="4375573"/>
            <a:ext cx="3280410" cy="1563265"/>
          </a:xfrm>
        </p:spPr>
        <p:txBody>
          <a:bodyPr/>
          <a:lstStyle/>
          <a:p>
            <a:pPr algn="ctr"/>
            <a:r>
              <a:rPr lang="nb-NO" b="0"/>
              <a:t>Spørreundersøkelse (N: 189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D8A17FE-AAEF-C617-BDD2-3321B08A114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84820" y="4375573"/>
            <a:ext cx="3280410" cy="1563265"/>
          </a:xfrm>
        </p:spPr>
        <p:txBody>
          <a:bodyPr/>
          <a:lstStyle/>
          <a:p>
            <a:pPr algn="ctr"/>
            <a:r>
              <a:rPr lang="nb-NO" b="0"/>
              <a:t>Casestudi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D1D0FF-5141-CF18-E01A-E2CC2A85A2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E6AC032-1535-134B-A583-D5E1DDD0D167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60BB0CD-5A7B-892C-BE16-4E8C46613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09388" y="3246111"/>
            <a:ext cx="831273" cy="83127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7E51ED9-16CF-C346-FB52-39CB8808F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35702" y="3246111"/>
            <a:ext cx="831273" cy="83127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B9215B9-C5EF-160A-9300-BD5BB85231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74208" y="3162984"/>
            <a:ext cx="914400" cy="9144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E4D4AB5-1EFC-68AF-D5BF-3AAED78E61B2}"/>
              </a:ext>
            </a:extLst>
          </p:cNvPr>
          <p:cNvSpPr/>
          <p:nvPr/>
        </p:nvSpPr>
        <p:spPr>
          <a:xfrm>
            <a:off x="853439" y="2589088"/>
            <a:ext cx="3040381" cy="3174714"/>
          </a:xfrm>
          <a:prstGeom prst="rect">
            <a:avLst/>
          </a:prstGeom>
          <a:solidFill>
            <a:srgbClr val="FFE8D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>
                <a:solidFill>
                  <a:schemeClr val="tx1"/>
                </a:solidFill>
              </a:rPr>
              <a:t>Dokumentgjennomga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446E5B-3D93-C12C-C621-CA475B3F5092}"/>
              </a:ext>
            </a:extLst>
          </p:cNvPr>
          <p:cNvSpPr/>
          <p:nvPr/>
        </p:nvSpPr>
        <p:spPr>
          <a:xfrm>
            <a:off x="4469129" y="2589088"/>
            <a:ext cx="3040381" cy="3174714"/>
          </a:xfrm>
          <a:prstGeom prst="rect">
            <a:avLst/>
          </a:prstGeom>
          <a:solidFill>
            <a:srgbClr val="FFE8D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br>
              <a:rPr lang="nb-NO">
                <a:solidFill>
                  <a:schemeClr val="tx1"/>
                </a:solidFill>
              </a:rPr>
            </a:br>
            <a:r>
              <a:rPr lang="nb-NO">
                <a:solidFill>
                  <a:schemeClr val="tx1"/>
                </a:solidFill>
              </a:rPr>
              <a:t>Spørreundersøkelse</a:t>
            </a:r>
            <a:br>
              <a:rPr lang="nb-NO">
                <a:solidFill>
                  <a:schemeClr val="tx1"/>
                </a:solidFill>
              </a:rPr>
            </a:br>
            <a:r>
              <a:rPr lang="nb-NO">
                <a:solidFill>
                  <a:schemeClr val="tx1"/>
                </a:solidFill>
              </a:rPr>
              <a:t>(N: 189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3BA6F2B-4EEB-586C-C2FA-4ECFF043F2B3}"/>
              </a:ext>
            </a:extLst>
          </p:cNvPr>
          <p:cNvSpPr/>
          <p:nvPr/>
        </p:nvSpPr>
        <p:spPr>
          <a:xfrm>
            <a:off x="8084820" y="2589088"/>
            <a:ext cx="3040381" cy="3174714"/>
          </a:xfrm>
          <a:prstGeom prst="rect">
            <a:avLst/>
          </a:prstGeom>
          <a:solidFill>
            <a:srgbClr val="FFE8D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>
                <a:solidFill>
                  <a:schemeClr val="tx1"/>
                </a:solidFill>
              </a:rPr>
              <a:t>Casestudier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B3EF122-FEF3-6986-4A8F-72B16B7A2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1617" y="2718771"/>
            <a:ext cx="1122006" cy="112200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EF1A482-5473-C250-DBCD-8AD24D8A35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61759" y="2754274"/>
            <a:ext cx="1062696" cy="106269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0164EAF5-0083-6A16-6B0E-2D2302A233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45798" y="283250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298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 Slide Master">
  <a:themeElements>
    <a:clrScheme name="PwC Office Colours">
      <a:dk1>
        <a:srgbClr val="000000"/>
      </a:dk1>
      <a:lt1>
        <a:srgbClr val="FFFFFF"/>
      </a:lt1>
      <a:dk2>
        <a:srgbClr val="000000"/>
      </a:dk2>
      <a:lt2>
        <a:srgbClr val="EBEBEB"/>
      </a:lt2>
      <a:accent1>
        <a:srgbClr val="FD5108"/>
      </a:accent1>
      <a:accent2>
        <a:srgbClr val="FE7C39"/>
      </a:accent2>
      <a:accent3>
        <a:srgbClr val="FFAA72"/>
      </a:accent3>
      <a:accent4>
        <a:srgbClr val="A1A8B3"/>
      </a:accent4>
      <a:accent5>
        <a:srgbClr val="B5BCC4"/>
      </a:accent5>
      <a:accent6>
        <a:srgbClr val="CBD1D6"/>
      </a:accent6>
      <a:hlink>
        <a:srgbClr val="000000"/>
      </a:hlink>
      <a:folHlink>
        <a:srgbClr val="A1A8B3"/>
      </a:folHlink>
    </a:clrScheme>
    <a:fontScheme name="PwC Offic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latin typeface="+mj-lt"/>
          </a:defRPr>
        </a:defPPr>
      </a:lstStyle>
    </a:txDef>
  </a:objectDefaults>
  <a:extraClrSchemeLst/>
  <a:custClrLst>
    <a:custClr name="Orange">
      <a:srgbClr val="FD5108"/>
    </a:custClr>
    <a:custClr name="Medium Orange">
      <a:srgbClr val="FE7C39"/>
    </a:custClr>
    <a:custClr name="Light Orange">
      <a:srgbClr val="FFAA72"/>
    </a:custClr>
    <a:custClr name="Orange Tint 1">
      <a:srgbClr val="FFCDA8"/>
    </a:custClr>
    <a:custClr name="Orange Tint 2">
      <a:srgbClr val="FFE8D4"/>
    </a:custClr>
    <a:custClr name="Orange Tint 3">
      <a:srgbClr val="FFF5ED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Grey">
      <a:srgbClr val="A1A8B3"/>
    </a:custClr>
    <a:custClr name="Medium Grey">
      <a:srgbClr val="B5BCC4"/>
    </a:custClr>
    <a:custClr name="Light Grey">
      <a:srgbClr val="CBD1D6"/>
    </a:custClr>
    <a:custClr name="Grey Tint 1">
      <a:srgbClr val="DFE3E6"/>
    </a:custClr>
    <a:custClr name="Grey Tint 2">
      <a:srgbClr val="EEEFF1"/>
    </a:custClr>
    <a:custClr name="Grey Tint 3">
      <a:srgbClr val="F5F7F8"/>
    </a:custClr>
  </a:custClrLst>
  <a:extLst>
    <a:ext uri="{05A4C25C-085E-4340-85A3-A5531E510DB2}">
      <thm15:themeFamily xmlns:thm15="http://schemas.microsoft.com/office/thememl/2012/main" name="PwC_ppt_template" id="{0B296F49-9839-BE48-A6B0-07FAE54AD4FB}" vid="{251455FA-3AFB-1547-9744-D9A8067329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02454D1-E47C-8143-BD11-D1CE754A9956}">
  <we:reference id="2cb3dfe7-199f-46bf-bb56-17a7fca0f469" version="14.1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CAF0351C4D054082DA0B0C46A5F20B" ma:contentTypeVersion="13" ma:contentTypeDescription="Create a new document." ma:contentTypeScope="" ma:versionID="1f3a09be14d0a1e061465b106db3c77a">
  <xsd:schema xmlns:xsd="http://www.w3.org/2001/XMLSchema" xmlns:xs="http://www.w3.org/2001/XMLSchema" xmlns:p="http://schemas.microsoft.com/office/2006/metadata/properties" xmlns:ns2="c011f47f-2d48-4444-b183-f954f114b012" targetNamespace="http://schemas.microsoft.com/office/2006/metadata/properties" ma:root="true" ma:fieldsID="8903e899b8d40abcde43b3a9b91d14e4" ns2:_="">
    <xsd:import namespace="c011f47f-2d48-4444-b183-f954f114b01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11f47f-2d48-4444-b183-f954f114b0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011f47f-2d48-4444-b183-f954f114b01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C6C4AA5-9EB3-431C-B120-426EF90E762A}">
  <ds:schemaRefs>
    <ds:schemaRef ds:uri="c011f47f-2d48-4444-b183-f954f114b01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C265105-FE1D-453C-BB54-B143C57411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758F2C-2961-4F3E-AF6C-A7AAF8C806B2}">
  <ds:schemaRefs>
    <ds:schemaRef ds:uri="c011f47f-2d48-4444-b183-f954f114b01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_ppt_template</Template>
  <Application>Microsoft Office PowerPoint</Application>
  <PresentationFormat>Widescreen</PresentationFormat>
  <Slides>18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PwC Slide Master</vt:lpstr>
      <vt:lpstr>Kommunalt samarbeid  for sterkere beredskap</vt:lpstr>
      <vt:lpstr>Title for accessibility                                           </vt:lpstr>
      <vt:lpstr>Title for accessibility                                           </vt:lpstr>
      <vt:lpstr>PowerPoint Presentation</vt:lpstr>
      <vt:lpstr>Nasjonale rapporter understreker behovet for en samlet innsats mot fremtidige trusler som spionasje, sabotasje og cyberangrep </vt:lpstr>
      <vt:lpstr>Title for accessibility                                           </vt:lpstr>
      <vt:lpstr>Kommunen står i første linje i krisehåndtering, og har ansvar innen en rekke områder </vt:lpstr>
      <vt:lpstr>I et totalberedskapsperspektiv er det helt åpenbart at kommunene bør samarbeide mer og tettere</vt:lpstr>
      <vt:lpstr>Våre analyser baserer seg på et bredt og sammensatt datagrunnlag </vt:lpstr>
      <vt:lpstr>De fleste norske kommuner samarbeider om beredskap, men nesten 1 av 5 gjør det ikke, og Trøndelag er verst i klassen </vt:lpstr>
      <vt:lpstr>Samarbeidene har effekt, og formaliserte samarbeid oppleves å gi bedre effekt enn ikke-formaliserte samarbeid</vt:lpstr>
      <vt:lpstr>...samtidig er en relativt stor andel av samarbeidene ikke formalisert</vt:lpstr>
      <vt:lpstr>PowerPoint Presentation</vt:lpstr>
      <vt:lpstr>Koordinering på tvers av tre nivåer kan være en kritisk suksessfaktor</vt:lpstr>
      <vt:lpstr>Vi har utviklet en verktøykasse (“veikart”) for en stegvis prosess mot etablering av samarbeid</vt:lpstr>
      <vt:lpstr>Våre fire hovedanbefalinger til norske kommuner</vt:lpstr>
      <vt:lpstr>PowerPoint Presentation</vt:lpstr>
      <vt:lpstr>Takk for oss!   Frode Singstad, partner  Kjetil Birkeland Daatland, senior manager 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ode Singstad (NO)</dc:creator>
  <cp:revision>1</cp:revision>
  <dcterms:created xsi:type="dcterms:W3CDTF">2025-05-07T19:18:49Z</dcterms:created>
  <dcterms:modified xsi:type="dcterms:W3CDTF">2025-10-23T08:0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CAF0351C4D054082DA0B0C46A5F20B</vt:lpwstr>
  </property>
</Properties>
</file>